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3" r:id="rId1"/>
    <p:sldMasterId id="2147483755" r:id="rId2"/>
  </p:sldMasterIdLst>
  <p:notesMasterIdLst>
    <p:notesMasterId r:id="rId29"/>
  </p:notesMasterIdLst>
  <p:handoutMasterIdLst>
    <p:handoutMasterId r:id="rId30"/>
  </p:handoutMasterIdLst>
  <p:sldIdLst>
    <p:sldId id="366" r:id="rId3"/>
    <p:sldId id="371" r:id="rId4"/>
    <p:sldId id="372" r:id="rId5"/>
    <p:sldId id="378" r:id="rId6"/>
    <p:sldId id="373" r:id="rId7"/>
    <p:sldId id="374" r:id="rId8"/>
    <p:sldId id="380" r:id="rId9"/>
    <p:sldId id="381" r:id="rId10"/>
    <p:sldId id="379" r:id="rId11"/>
    <p:sldId id="377" r:id="rId12"/>
    <p:sldId id="384" r:id="rId13"/>
    <p:sldId id="395" r:id="rId14"/>
    <p:sldId id="396" r:id="rId15"/>
    <p:sldId id="389" r:id="rId16"/>
    <p:sldId id="390" r:id="rId17"/>
    <p:sldId id="391" r:id="rId18"/>
    <p:sldId id="392" r:id="rId19"/>
    <p:sldId id="398" r:id="rId20"/>
    <p:sldId id="399" r:id="rId21"/>
    <p:sldId id="400" r:id="rId22"/>
    <p:sldId id="401" r:id="rId23"/>
    <p:sldId id="402" r:id="rId24"/>
    <p:sldId id="403" r:id="rId25"/>
    <p:sldId id="404" r:id="rId26"/>
    <p:sldId id="405" r:id="rId27"/>
    <p:sldId id="397" r:id="rId28"/>
  </p:sldIdLst>
  <p:sldSz cx="9144000" cy="6858000" type="screen4x3"/>
  <p:notesSz cx="9926638" cy="14355763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5">
          <p15:clr>
            <a:srgbClr val="A4A3A4"/>
          </p15:clr>
        </p15:guide>
        <p15:guide id="2" orient="horz" pos="3793">
          <p15:clr>
            <a:srgbClr val="A4A3A4"/>
          </p15:clr>
        </p15:guide>
        <p15:guide id="3" orient="horz" pos="186">
          <p15:clr>
            <a:srgbClr val="A4A3A4"/>
          </p15:clr>
        </p15:guide>
        <p15:guide id="4" pos="5498">
          <p15:clr>
            <a:srgbClr val="A4A3A4"/>
          </p15:clr>
        </p15:guide>
        <p15:guide id="5" pos="264">
          <p15:clr>
            <a:srgbClr val="A4A3A4"/>
          </p15:clr>
        </p15:guide>
        <p15:guide id="6" pos="2826">
          <p15:clr>
            <a:srgbClr val="A4A3A4"/>
          </p15:clr>
        </p15:guide>
        <p15:guide id="7" pos="293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0007"/>
    <a:srgbClr val="AF000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79" autoAdjust="0"/>
    <p:restoredTop sz="97554" autoAdjust="0"/>
  </p:normalViewPr>
  <p:slideViewPr>
    <p:cSldViewPr snapToGrid="0">
      <p:cViewPr varScale="1">
        <p:scale>
          <a:sx n="101" d="100"/>
          <a:sy n="101" d="100"/>
        </p:scale>
        <p:origin x="504" y="84"/>
      </p:cViewPr>
      <p:guideLst>
        <p:guide orient="horz" pos="845"/>
        <p:guide orient="horz" pos="3793"/>
        <p:guide orient="horz" pos="186"/>
        <p:guide pos="5498"/>
        <p:guide pos="264"/>
        <p:guide pos="2826"/>
        <p:guide pos="293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717788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798" y="0"/>
            <a:ext cx="4301543" cy="717788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8DDC775-D96C-47F1-A7F6-3BB2D8E76A25}" type="datetimeFigureOut">
              <a:rPr lang="en-GB" smtClean="0"/>
              <a:t>01/06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13635483"/>
            <a:ext cx="4301543" cy="717788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2798" y="13635483"/>
            <a:ext cx="4301543" cy="717788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D5083773-A06C-4709-B30E-A3920CD1815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518245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717788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717788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A271B8D7-5601-426C-90BB-417F03FCEA1A}" type="datetimeFigureOut">
              <a:rPr lang="en-GB" smtClean="0"/>
              <a:t>01/06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4775" y="1076325"/>
            <a:ext cx="7177088" cy="5383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6818988"/>
            <a:ext cx="7941310" cy="6460093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3635483"/>
            <a:ext cx="4301543" cy="717788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8" y="13635483"/>
            <a:ext cx="4301543" cy="717788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95EEA1EF-E049-411F-95E8-50B58FEF4D8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953285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7346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74775" y="1076325"/>
            <a:ext cx="7177088" cy="538321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44034" name="Notes Placeholder 2"/>
          <p:cNvSpPr>
            <a:spLocks noGrp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 sz="1000" b="1" dirty="0">
                <a:solidFill>
                  <a:schemeClr val="accent3"/>
                </a:solidFill>
              </a:rPr>
              <a:t>CLIMATE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en-US" sz="1000" dirty="0">
                <a:solidFill>
                  <a:schemeClr val="accent3"/>
                </a:solidFill>
              </a:rPr>
              <a:t>While meeting the global climate challenge, our products also contribute to human productivity and well-being indoors by optimizing heating, ventilation and air conditioning systems.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000" dirty="0">
              <a:solidFill>
                <a:schemeClr val="accent3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1000" b="1" dirty="0">
                <a:solidFill>
                  <a:schemeClr val="accent3"/>
                </a:solidFill>
              </a:rPr>
              <a:t>ENERGY</a:t>
            </a:r>
          </a:p>
          <a:p>
            <a:pPr>
              <a:spcBef>
                <a:spcPts val="600"/>
              </a:spcBef>
            </a:pPr>
            <a:r>
              <a:rPr lang="en-US" sz="1000" dirty="0">
                <a:solidFill>
                  <a:schemeClr val="accent3"/>
                </a:solidFill>
              </a:rPr>
              <a:t>No matter what we do, the goal is to optimize performance, increase efficiency and minimize waste. This means that our technologies enable our customers and society as a whole to get more from less.</a:t>
            </a:r>
          </a:p>
          <a:p>
            <a:pPr>
              <a:spcBef>
                <a:spcPts val="600"/>
              </a:spcBef>
            </a:pPr>
            <a:endParaRPr lang="fi-FI" sz="1000" dirty="0">
              <a:solidFill>
                <a:schemeClr val="accent3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1000" b="1" dirty="0">
                <a:solidFill>
                  <a:schemeClr val="accent3"/>
                </a:solidFill>
              </a:rPr>
              <a:t>INFRASTRUCTURE</a:t>
            </a:r>
          </a:p>
          <a:p>
            <a:pPr>
              <a:spcBef>
                <a:spcPts val="600"/>
              </a:spcBef>
            </a:pPr>
            <a:r>
              <a:rPr lang="en-US" sz="1000" dirty="0">
                <a:solidFill>
                  <a:schemeClr val="accent3"/>
                </a:solidFill>
              </a:rPr>
              <a:t>We help build the roads, buildings and energy systems for the world’s</a:t>
            </a:r>
            <a:br>
              <a:rPr lang="en-US" sz="1000" dirty="0">
                <a:solidFill>
                  <a:schemeClr val="accent3"/>
                </a:solidFill>
              </a:rPr>
            </a:br>
            <a:r>
              <a:rPr lang="en-US" sz="1000" dirty="0">
                <a:solidFill>
                  <a:schemeClr val="accent3"/>
                </a:solidFill>
              </a:rPr>
              <a:t>growing cities and support progress for people, communities and businesses across the world.</a:t>
            </a:r>
          </a:p>
          <a:p>
            <a:pPr>
              <a:spcBef>
                <a:spcPts val="600"/>
              </a:spcBef>
            </a:pPr>
            <a:endParaRPr lang="fi-FI" sz="1000" dirty="0">
              <a:solidFill>
                <a:schemeClr val="accent3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1000" b="1" dirty="0">
                <a:solidFill>
                  <a:schemeClr val="accent3"/>
                </a:solidFill>
              </a:rPr>
              <a:t>FOOD</a:t>
            </a:r>
          </a:p>
          <a:p>
            <a:pPr>
              <a:spcBef>
                <a:spcPts val="600"/>
              </a:spcBef>
            </a:pPr>
            <a:r>
              <a:rPr lang="en-US" sz="1000" dirty="0">
                <a:solidFill>
                  <a:schemeClr val="accent3"/>
                </a:solidFill>
              </a:rPr>
              <a:t>Our solutions meet the constant</a:t>
            </a:r>
            <a:br>
              <a:rPr lang="en-US" sz="1000" dirty="0">
                <a:solidFill>
                  <a:schemeClr val="accent3"/>
                </a:solidFill>
              </a:rPr>
            </a:br>
            <a:r>
              <a:rPr lang="en-US" sz="1000" dirty="0">
                <a:solidFill>
                  <a:schemeClr val="accent3"/>
                </a:solidFill>
              </a:rPr>
              <a:t>need for more and better food by improving agricultural productivity and keeping food fresh all the way</a:t>
            </a:r>
            <a:br>
              <a:rPr lang="en-US" sz="1000" dirty="0">
                <a:solidFill>
                  <a:schemeClr val="accent3"/>
                </a:solidFill>
              </a:rPr>
            </a:br>
            <a:r>
              <a:rPr lang="en-US" sz="1000" dirty="0">
                <a:solidFill>
                  <a:schemeClr val="accent3"/>
                </a:solidFill>
              </a:rPr>
              <a:t>to consumers with minimum waste.</a:t>
            </a:r>
          </a:p>
          <a:p>
            <a:pPr>
              <a:spcBef>
                <a:spcPts val="600"/>
              </a:spcBef>
            </a:pPr>
            <a:endParaRPr lang="en-US" sz="1000" dirty="0">
              <a:solidFill>
                <a:schemeClr val="accent3"/>
              </a:solidFill>
            </a:endParaRP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000" dirty="0">
              <a:solidFill>
                <a:schemeClr val="accent3"/>
              </a:solidFill>
            </a:endParaRP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en-US" sz="1000" dirty="0">
              <a:solidFill>
                <a:schemeClr val="accent3"/>
              </a:solidFill>
            </a:endParaRPr>
          </a:p>
          <a:p>
            <a:pPr>
              <a:defRPr/>
            </a:pPr>
            <a:r>
              <a:rPr lang="da-DK" sz="1000" baseline="0" dirty="0"/>
              <a:t> </a:t>
            </a:r>
            <a:endParaRPr lang="da-DK" sz="1000" dirty="0"/>
          </a:p>
        </p:txBody>
      </p:sp>
      <p:sp>
        <p:nvSpPr>
          <p:cNvPr id="4403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1pPr>
            <a:lvl2pPr marL="1078606" indent="-414848"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2pPr>
            <a:lvl3pPr marL="1659395" indent="-331879"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3pPr>
            <a:lvl4pPr marL="2323153" indent="-331879"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4pPr>
            <a:lvl5pPr marL="2986910" indent="-331879"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5pPr>
            <a:lvl6pPr marL="3650668" indent="-331879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6pPr>
            <a:lvl7pPr marL="4314428" indent="-331879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7pPr>
            <a:lvl8pPr marL="4978185" indent="-331879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8pPr>
            <a:lvl9pPr marL="5641943" indent="-331879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9pPr>
          </a:lstStyle>
          <a:p>
            <a:pPr eaLnBrk="1" hangingPunct="1"/>
            <a:fld id="{23FC7637-D57A-6045-A467-5DB29870FF7F}" type="slidenum">
              <a:rPr lang="fi-FI" sz="1700">
                <a:solidFill>
                  <a:schemeClr val="tx2"/>
                </a:solidFill>
                <a:latin typeface="Verdana" charset="0"/>
              </a:rPr>
              <a:pPr eaLnBrk="1" hangingPunct="1"/>
              <a:t>2</a:t>
            </a:fld>
            <a:endParaRPr lang="fi-FI" sz="1700">
              <a:solidFill>
                <a:schemeClr val="tx2"/>
              </a:solidFill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7723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rgbClr val="B6000F"/>
                </a:solidFill>
              </a:rPr>
              <a:t>Strong #1 and #2 market positions according to Core</a:t>
            </a:r>
            <a:r>
              <a:rPr lang="en-GB" sz="1200" baseline="0" dirty="0">
                <a:solidFill>
                  <a:srgbClr val="B6000F"/>
                </a:solidFill>
              </a:rPr>
              <a:t> &amp; Clear strategy</a:t>
            </a:r>
            <a:r>
              <a:rPr lang="en-GB" sz="1200" dirty="0">
                <a:solidFill>
                  <a:srgbClr val="B6000F"/>
                </a:solidFill>
              </a:rPr>
              <a:t> </a:t>
            </a:r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6506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29698" name="Notes Placeholder 2"/>
          <p:cNvSpPr>
            <a:spLocks noGrp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z="1100" dirty="0"/>
              <a:t>We never compete with you for the same customers. We are a pure drives company, your best supplier.</a:t>
            </a:r>
          </a:p>
          <a:p>
            <a:endParaRPr lang="fi-FI" sz="1100" dirty="0"/>
          </a:p>
        </p:txBody>
      </p:sp>
      <p:sp>
        <p:nvSpPr>
          <p:cNvPr id="2969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3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1pPr>
            <a:lvl2pPr marL="710690" indent="-273342" eaLnBrk="0" hangingPunct="0">
              <a:defRPr sz="23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2pPr>
            <a:lvl3pPr marL="1093370" indent="-218674" eaLnBrk="0" hangingPunct="0">
              <a:defRPr sz="23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3pPr>
            <a:lvl4pPr marL="1530718" indent="-218674" eaLnBrk="0" hangingPunct="0">
              <a:defRPr sz="23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4pPr>
            <a:lvl5pPr marL="1968065" indent="-218674" eaLnBrk="0" hangingPunct="0">
              <a:defRPr sz="23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5pPr>
            <a:lvl6pPr marL="2405413" indent="-218674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6pPr>
            <a:lvl7pPr marL="2842763" indent="-218674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7pPr>
            <a:lvl8pPr marL="3280110" indent="-218674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8pPr>
            <a:lvl9pPr marL="3717458" indent="-218674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9pPr>
          </a:lstStyle>
          <a:p>
            <a:pPr eaLnBrk="1" hangingPunct="1"/>
            <a:fld id="{75DE27F4-DB6C-674F-84AF-25B55F969F7A}" type="slidenum">
              <a:rPr lang="fi-FI" sz="1100">
                <a:solidFill>
                  <a:schemeClr val="tx2"/>
                </a:solidFill>
                <a:latin typeface="Verdana" charset="0"/>
              </a:rPr>
              <a:pPr eaLnBrk="1" hangingPunct="1"/>
              <a:t>5</a:t>
            </a:fld>
            <a:endParaRPr lang="fi-FI" sz="1100">
              <a:solidFill>
                <a:schemeClr val="tx2"/>
              </a:solidFill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3650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41986" name="Notes Placeholder 2"/>
          <p:cNvSpPr>
            <a:spLocks noGrp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z="1700" dirty="0"/>
              <a:t>By joining forces we are able to offer a broader, deeper and even more competitive and innovative product and service portfolio to our customers through investing significantly in R&amp;D and sales. </a:t>
            </a:r>
            <a:endParaRPr lang="fi-FI" sz="1700" dirty="0"/>
          </a:p>
        </p:txBody>
      </p:sp>
      <p:sp>
        <p:nvSpPr>
          <p:cNvPr id="4198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1pPr>
            <a:lvl2pPr marL="1082092" indent="-416188"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2pPr>
            <a:lvl3pPr marL="1664758" indent="-332951"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3pPr>
            <a:lvl4pPr marL="2330662" indent="-332951"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4pPr>
            <a:lvl5pPr marL="2996564" indent="-332951"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5pPr>
            <a:lvl6pPr marL="3662468" indent="-332951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6pPr>
            <a:lvl7pPr marL="4328373" indent="-332951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7pPr>
            <a:lvl8pPr marL="4994276" indent="-332951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8pPr>
            <a:lvl9pPr marL="5660179" indent="-332951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9pPr>
          </a:lstStyle>
          <a:p>
            <a:pPr eaLnBrk="1" hangingPunct="1"/>
            <a:fld id="{D874F8E0-71D8-6545-88D1-A7DD366DF905}" type="slidenum">
              <a:rPr lang="fi-FI" sz="1700">
                <a:solidFill>
                  <a:srgbClr val="1F497D"/>
                </a:solidFill>
                <a:latin typeface="Verdana" charset="0"/>
              </a:rPr>
              <a:pPr eaLnBrk="1" hangingPunct="1"/>
              <a:t>7</a:t>
            </a:fld>
            <a:endParaRPr lang="fi-FI" sz="1700">
              <a:solidFill>
                <a:srgbClr val="1F497D"/>
              </a:solidFill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9389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41986" name="Notes Placeholder 2"/>
          <p:cNvSpPr>
            <a:spLocks noGrp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z="1700" dirty="0"/>
              <a:t>By joining forces we are able to offer a broader, deeper and even more competitive and innovative product and service portfolio to our customers through investing significantly in R&amp;D and sales. </a:t>
            </a:r>
            <a:endParaRPr lang="fi-FI" sz="1700" dirty="0"/>
          </a:p>
        </p:txBody>
      </p:sp>
      <p:sp>
        <p:nvSpPr>
          <p:cNvPr id="4198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1pPr>
            <a:lvl2pPr marL="1082092" indent="-416188"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2pPr>
            <a:lvl3pPr marL="1664758" indent="-332951"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3pPr>
            <a:lvl4pPr marL="2330662" indent="-332951"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4pPr>
            <a:lvl5pPr marL="2996564" indent="-332951" eaLnBrk="0" hangingPunct="0"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5pPr>
            <a:lvl6pPr marL="3662468" indent="-332951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6pPr>
            <a:lvl7pPr marL="4328373" indent="-332951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7pPr>
            <a:lvl8pPr marL="4994276" indent="-332951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8pPr>
            <a:lvl9pPr marL="5660179" indent="-332951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1"/>
                </a:solidFill>
                <a:latin typeface="Calibri" charset="0"/>
                <a:ea typeface="ヒラギノ角ゴ Pro W3" charset="0"/>
                <a:cs typeface="ヒラギノ角ゴ Pro W3" charset="0"/>
              </a:defRPr>
            </a:lvl9pPr>
          </a:lstStyle>
          <a:p>
            <a:pPr eaLnBrk="1" hangingPunct="1"/>
            <a:fld id="{D874F8E0-71D8-6545-88D1-A7DD366DF905}" type="slidenum">
              <a:rPr lang="fi-FI" sz="1700">
                <a:solidFill>
                  <a:srgbClr val="1F497D"/>
                </a:solidFill>
                <a:latin typeface="Verdana" charset="0"/>
              </a:rPr>
              <a:pPr eaLnBrk="1" hangingPunct="1"/>
              <a:t>8</a:t>
            </a:fld>
            <a:endParaRPr lang="fi-FI" sz="1700">
              <a:solidFill>
                <a:srgbClr val="1F497D"/>
              </a:solidFill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13485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56475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94137" indent="-394137">
              <a:lnSpc>
                <a:spcPts val="2613"/>
              </a:lnSpc>
              <a:spcBef>
                <a:spcPct val="0"/>
              </a:spcBef>
              <a:spcAft>
                <a:spcPts val="871"/>
              </a:spcAft>
            </a:pPr>
            <a:r>
              <a:rPr lang="en-US" altLang="zh-CN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Wuqing Campus is Danfoss’ largest production base in Asia Pacific, hosting Danfoss (Tianjin) Co., Ltd and Danfoss </a:t>
            </a:r>
            <a:r>
              <a:rPr lang="da-DK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Semco (Tianjin) Fire Protection Equipment Co., Ltd. Danfoss’</a:t>
            </a:r>
            <a:r>
              <a:rPr lang="en-US" altLang="zh-CN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 RC, CC, HS and DEN divisions have set up production and lab facilities here.</a:t>
            </a:r>
          </a:p>
          <a:p>
            <a:pPr marL="394137">
              <a:lnSpc>
                <a:spcPts val="2613"/>
              </a:lnSpc>
              <a:spcBef>
                <a:spcPct val="0"/>
              </a:spcBef>
              <a:spcAft>
                <a:spcPts val="871"/>
              </a:spcAft>
            </a:pP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武清工业园区是丹佛斯在亚太地区最大的生产基地，设有丹佛斯（天津）有限公司及</a:t>
            </a:r>
            <a:r>
              <a:rPr lang="ja-JP" altLang="da-DK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丹佛斯</a:t>
            </a:r>
            <a:r>
              <a:rPr lang="da-DK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Semco（</a:t>
            </a:r>
            <a:r>
              <a:rPr lang="ja-JP" altLang="da-DK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天津）消防设备有限公司</a:t>
            </a: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。丹佛斯气候与能源领域五大部门中的四个（</a:t>
            </a:r>
            <a:r>
              <a:rPr lang="en-US" altLang="zh-CN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RC</a:t>
            </a: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、</a:t>
            </a:r>
            <a:r>
              <a:rPr lang="en-US" altLang="zh-CN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CC</a:t>
            </a: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、</a:t>
            </a:r>
            <a:r>
              <a:rPr lang="en-US" altLang="zh-CN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HS</a:t>
            </a: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、</a:t>
            </a:r>
            <a:r>
              <a:rPr lang="en-US" altLang="zh-CN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DEN</a:t>
            </a: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）在武清有生产和研发设施。</a:t>
            </a:r>
            <a:endParaRPr lang="da-DK" altLang="zh-CN" sz="1700" dirty="0">
              <a:solidFill>
                <a:srgbClr val="000000"/>
              </a:solidFill>
              <a:latin typeface="Verdana" pitchFamily="34" charset="0"/>
              <a:ea typeface="黑体" panose="02010609060101010101" pitchFamily="49" charset="-122"/>
            </a:endParaRPr>
          </a:p>
          <a:p>
            <a:pPr marL="394137" indent="-394137">
              <a:lnSpc>
                <a:spcPts val="2613"/>
              </a:lnSpc>
              <a:spcBef>
                <a:spcPct val="0"/>
              </a:spcBef>
              <a:spcAft>
                <a:spcPts val="871"/>
              </a:spcAft>
            </a:pPr>
            <a:r>
              <a:rPr lang="en-US" altLang="zh-CN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Haiyan has become Danfoss’ Second Campus in China, hosting </a:t>
            </a:r>
            <a:r>
              <a:rPr lang="en-GB" altLang="zh-CN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Zhejiang Holip Electronic Technology Co., Ltd, </a:t>
            </a:r>
            <a:r>
              <a:rPr lang="da-DK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Danfoss Micro Channel Heat Exchanger (Jiaxing) Co., Ltd, and Danfoss (Hangzhou) Plate Exchanger Co., Ltd Haiyan Branch. Danfoss’</a:t>
            </a:r>
            <a:r>
              <a:rPr lang="en-US" altLang="zh-CN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 PE, RC, CC, DEN and PS divisions have set up production and lab facilities here.</a:t>
            </a:r>
          </a:p>
          <a:p>
            <a:pPr marL="394137">
              <a:lnSpc>
                <a:spcPts val="2613"/>
              </a:lnSpc>
              <a:spcBef>
                <a:spcPct val="0"/>
              </a:spcBef>
              <a:spcAft>
                <a:spcPts val="871"/>
              </a:spcAft>
            </a:pP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浙江海盐是丹佛斯在华第二工业园区，设有浙江海利普电子科技有限公司、</a:t>
            </a:r>
            <a:r>
              <a:rPr lang="ja-JP" altLang="da-DK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丹佛斯微通道换热器（嘉兴）有限公司</a:t>
            </a: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、</a:t>
            </a:r>
            <a:r>
              <a:rPr lang="ja-JP" altLang="da-DK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丹佛斯（杭州）</a:t>
            </a: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板式换热器</a:t>
            </a:r>
            <a:r>
              <a:rPr lang="ja-JP" altLang="da-DK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有限公司</a:t>
            </a: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海盐分公司。丹佛斯气候与能源领域五大部门中的四个（</a:t>
            </a:r>
            <a:r>
              <a:rPr lang="en-US" altLang="zh-CN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PE</a:t>
            </a: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、</a:t>
            </a:r>
            <a:r>
              <a:rPr lang="en-US" altLang="zh-CN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RC</a:t>
            </a: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、</a:t>
            </a:r>
            <a:r>
              <a:rPr lang="en-US" altLang="zh-CN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CC</a:t>
            </a: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、</a:t>
            </a:r>
            <a:r>
              <a:rPr lang="en-US" altLang="zh-CN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DEN</a:t>
            </a:r>
            <a:r>
              <a:rPr lang="zh-CN" altLang="en-US" sz="1700" dirty="0">
                <a:solidFill>
                  <a:srgbClr val="000000"/>
                </a:solidFill>
                <a:latin typeface="Verdana" pitchFamily="34" charset="0"/>
                <a:ea typeface="黑体" panose="02010609060101010101" pitchFamily="49" charset="-122"/>
              </a:rPr>
              <a:t>）以及丹佛斯动力系统解决方案在海盐有生产和研发设施。</a:t>
            </a:r>
            <a:endParaRPr lang="da-DK" altLang="en-US" sz="1700" dirty="0">
              <a:solidFill>
                <a:srgbClr val="000000"/>
              </a:solidFill>
              <a:latin typeface="Verdana" pitchFamily="34" charset="0"/>
              <a:ea typeface="黑体" panose="02010609060101010101" pitchFamily="49" charset="-122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8972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sz="1700" dirty="0"/>
              <a:t>Value propositions:</a:t>
            </a:r>
          </a:p>
          <a:p>
            <a:r>
              <a:rPr lang="en-US" sz="1700" dirty="0"/>
              <a:t>The AC drives partner that shares your goals</a:t>
            </a:r>
          </a:p>
          <a:p>
            <a:endParaRPr lang="fi-FI" sz="1700" dirty="0"/>
          </a:p>
          <a:p>
            <a:r>
              <a:rPr lang="fi-FI" sz="1700" b="1" dirty="0"/>
              <a:t>Delivered drives</a:t>
            </a:r>
            <a:endParaRPr lang="fi-FI" sz="1700" dirty="0"/>
          </a:p>
          <a:p>
            <a:r>
              <a:rPr lang="en-US" sz="1700" dirty="0"/>
              <a:t>Danfoss Drives (global no. 2) has sold 18.5 M units to date, Q1 2016</a:t>
            </a:r>
          </a:p>
          <a:p>
            <a:endParaRPr lang="fi-FI" sz="1700" dirty="0"/>
          </a:p>
          <a:p>
            <a:r>
              <a:rPr lang="fi-FI" sz="1700" dirty="0"/>
              <a:t>Compare to competition:</a:t>
            </a:r>
          </a:p>
          <a:p>
            <a:r>
              <a:rPr lang="en-US" sz="1700" dirty="0"/>
              <a:t>ABB (global no.1) has sold 10M units</a:t>
            </a:r>
          </a:p>
          <a:p>
            <a:r>
              <a:rPr lang="en-US" sz="1700" dirty="0" err="1"/>
              <a:t>Yaskawa</a:t>
            </a:r>
            <a:r>
              <a:rPr lang="en-US" sz="1700" dirty="0"/>
              <a:t> (global no.5) has sold 20M units.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1755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 tIns="432000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1694641"/>
            <a:ext cx="8307387" cy="1470025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3614738"/>
            <a:ext cx="8308975" cy="543194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9144000" cy="1159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6465600" y="381600"/>
            <a:ext cx="2289600" cy="586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066156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341438"/>
            <a:ext cx="8308975" cy="46799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4356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0" y="1341438"/>
            <a:ext cx="4068000" cy="4679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4800" y="1341438"/>
            <a:ext cx="4068000" cy="4679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93841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95275"/>
            <a:ext cx="4067176" cy="93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341438"/>
            <a:ext cx="4067175" cy="467994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59313" y="0"/>
            <a:ext cx="4484686" cy="63928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70039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3" y="295275"/>
            <a:ext cx="4068761" cy="93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0" y="1341438"/>
            <a:ext cx="4067855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486275" cy="63928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4571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341438"/>
            <a:ext cx="5160962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747275" y="1341439"/>
            <a:ext cx="2980800" cy="4679950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10521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0" y="1341438"/>
            <a:ext cx="5160475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19100" y="1341439"/>
            <a:ext cx="2980800" cy="4679950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0192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8" y="1341438"/>
            <a:ext cx="8301037" cy="51827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bmkFldAdditionalInfo"/>
          <p:cNvSpPr txBox="1">
            <a:spLocks noChangeArrowheads="1"/>
          </p:cNvSpPr>
          <p:nvPr userDrawn="1"/>
        </p:nvSpPr>
        <p:spPr bwMode="auto">
          <a:xfrm>
            <a:off x="64431" y="6621841"/>
            <a:ext cx="381042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8237990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392863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59998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1694641"/>
            <a:ext cx="8307387" cy="1470025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3614738"/>
            <a:ext cx="8308975" cy="543194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tex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88775"/>
            <a:ext cx="2289048" cy="5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870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pic>
        <p:nvPicPr>
          <p:cNvPr id="2051" name="Box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519" y="2189486"/>
            <a:ext cx="3098210" cy="1354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3887526"/>
            <a:ext cx="2466000" cy="643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86201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341438"/>
            <a:ext cx="8308975" cy="46609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75806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Click here to write your title</a:t>
            </a:r>
            <a:br>
              <a:rPr lang="en-US" noProof="0" dirty="0"/>
            </a:br>
            <a:r>
              <a:rPr lang="en-US" noProof="0" dirty="0"/>
              <a:t>Max. 2 lines </a:t>
            </a:r>
          </a:p>
        </p:txBody>
      </p:sp>
      <p:sp>
        <p:nvSpPr>
          <p:cNvPr id="6" name="SP Placeholder Footnote 1"/>
          <p:cNvSpPr>
            <a:spLocks noGrp="1"/>
          </p:cNvSpPr>
          <p:nvPr>
            <p:ph type="body" sz="quarter" idx="14" hasCustomPrompt="1"/>
          </p:nvPr>
        </p:nvSpPr>
        <p:spPr>
          <a:xfrm>
            <a:off x="252046" y="6415489"/>
            <a:ext cx="8639908" cy="123111"/>
          </a:xfr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FontTx/>
              <a:buNone/>
              <a:tabLst/>
              <a:defRPr sz="416" b="0" baseline="0"/>
            </a:lvl1pPr>
          </a:lstStyle>
          <a:p>
            <a:r>
              <a:rPr lang="en-US" noProof="0" dirty="0"/>
              <a:t>*Footnotes (use *, **, ***)</a:t>
            </a:r>
          </a:p>
        </p:txBody>
      </p:sp>
      <p:sp>
        <p:nvSpPr>
          <p:cNvPr id="7" name="SP Placeholder Source 1"/>
          <p:cNvSpPr>
            <a:spLocks noGrp="1"/>
          </p:cNvSpPr>
          <p:nvPr>
            <p:ph type="body" sz="quarter" idx="15" hasCustomPrompt="1"/>
          </p:nvPr>
        </p:nvSpPr>
        <p:spPr>
          <a:xfrm>
            <a:off x="832206" y="6665391"/>
            <a:ext cx="7310769" cy="123111"/>
          </a:xfrm>
        </p:spPr>
        <p:txBody>
          <a:bodyPr lIns="0" tIns="0" rIns="0" bIns="0" anchor="ctr"/>
          <a:lstStyle>
            <a:lvl1pPr marL="0" indent="0">
              <a:spcBef>
                <a:spcPts val="0"/>
              </a:spcBef>
              <a:buNone/>
              <a:defRPr sz="416" b="0"/>
            </a:lvl1pPr>
          </a:lstStyle>
          <a:p>
            <a:pPr lvl="0"/>
            <a:r>
              <a:rPr lang="en-US" noProof="0" dirty="0"/>
              <a:t>Source: 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252046" y="981078"/>
            <a:ext cx="8639908" cy="1246349"/>
          </a:xfrm>
        </p:spPr>
        <p:txBody>
          <a:bodyPr lIns="72000" tIns="72000" rIns="72000" bIns="72000">
            <a:spAutoFit/>
          </a:bodyPr>
          <a:lstStyle>
            <a:lvl1pPr marL="0" indent="0" algn="l" defTabSz="474797" rtl="0" eaLnBrk="1" latinLnBrk="0" hangingPunct="1">
              <a:spcBef>
                <a:spcPts val="312"/>
              </a:spcBef>
              <a:buFont typeface="Arial" pitchFamily="34" charset="0"/>
              <a:buNone/>
              <a:defRPr sz="831" b="1"/>
            </a:lvl1pPr>
            <a:lvl2pPr marL="74771" indent="-74771" algn="l" defTabSz="474797" rtl="0" eaLnBrk="1" latinLnBrk="0" hangingPunct="1">
              <a:spcBef>
                <a:spcPts val="312"/>
              </a:spcBef>
              <a:buClr>
                <a:schemeClr val="accent3"/>
              </a:buClr>
              <a:buFont typeface="Wingdings" pitchFamily="2" charset="2"/>
              <a:buChar char="§"/>
              <a:defRPr sz="831"/>
            </a:lvl2pPr>
            <a:lvl3pPr marL="149543" indent="-74771" algn="l" defTabSz="474797" rtl="0" eaLnBrk="1" latinLnBrk="0" hangingPunct="1">
              <a:spcBef>
                <a:spcPts val="312"/>
              </a:spcBef>
              <a:buClr>
                <a:schemeClr val="accent3"/>
              </a:buClr>
              <a:buFont typeface="Arial" pitchFamily="34" charset="0"/>
              <a:buChar char="–"/>
              <a:defRPr sz="831"/>
            </a:lvl3pPr>
            <a:lvl4pPr marL="224313" indent="-74771" algn="l" defTabSz="474797" rtl="0" eaLnBrk="1" latinLnBrk="0" hangingPunct="1">
              <a:spcBef>
                <a:spcPts val="312"/>
              </a:spcBef>
              <a:buClr>
                <a:schemeClr val="accent3"/>
              </a:buClr>
              <a:buFont typeface="Arial" pitchFamily="34" charset="0"/>
              <a:buChar char="»"/>
              <a:defRPr sz="831"/>
            </a:lvl4pPr>
            <a:lvl5pPr marL="299085" indent="-74771" algn="l" defTabSz="474797" rtl="0" eaLnBrk="1" latinLnBrk="0" hangingPunct="1">
              <a:spcBef>
                <a:spcPts val="312"/>
              </a:spcBef>
              <a:buClr>
                <a:schemeClr val="accent3"/>
              </a:buClr>
              <a:buFont typeface="Arial" pitchFamily="34" charset="0"/>
              <a:buChar char="·"/>
              <a:defRPr sz="831"/>
            </a:lvl5pPr>
          </a:lstStyle>
          <a:p>
            <a:pPr marL="0" lvl="0" indent="0" algn="l" defTabSz="474797" rtl="0" eaLnBrk="1" latinLnBrk="0" hangingPunct="1">
              <a:spcBef>
                <a:spcPts val="312"/>
              </a:spcBef>
              <a:buFont typeface="Arial" pitchFamily="34" charset="0"/>
              <a:buNone/>
            </a:pPr>
            <a:r>
              <a:rPr lang="en-US" noProof="0" dirty="0"/>
              <a:t>Click to write your text here</a:t>
            </a:r>
          </a:p>
          <a:p>
            <a:pPr marL="74771" lvl="1" indent="-74771" algn="l" defTabSz="474797" rtl="0" eaLnBrk="1" latinLnBrk="0" hangingPunct="1">
              <a:spcBef>
                <a:spcPts val="312"/>
              </a:spcBef>
              <a:buClr>
                <a:schemeClr val="accent3"/>
              </a:buClr>
              <a:buFont typeface="Wingdings" pitchFamily="2" charset="2"/>
              <a:buChar char="§"/>
            </a:pPr>
            <a:r>
              <a:rPr lang="en-US" noProof="0" dirty="0"/>
              <a:t>Level 2</a:t>
            </a:r>
          </a:p>
          <a:p>
            <a:pPr marL="149543" lvl="2" indent="-74771" algn="l" defTabSz="474797" rtl="0" eaLnBrk="1" latinLnBrk="0" hangingPunct="1">
              <a:spcBef>
                <a:spcPts val="312"/>
              </a:spcBef>
              <a:buClr>
                <a:schemeClr val="accent3"/>
              </a:buClr>
              <a:buFont typeface="Arial" pitchFamily="34" charset="0"/>
              <a:buChar char="–"/>
            </a:pPr>
            <a:r>
              <a:rPr lang="en-US" noProof="0" dirty="0"/>
              <a:t>Level 3</a:t>
            </a:r>
          </a:p>
          <a:p>
            <a:pPr marL="224313" lvl="3" indent="-74771" algn="l" defTabSz="474797" rtl="0" eaLnBrk="1" latinLnBrk="0" hangingPunct="1">
              <a:spcBef>
                <a:spcPts val="312"/>
              </a:spcBef>
              <a:buClr>
                <a:schemeClr val="accent3"/>
              </a:buClr>
              <a:buFont typeface="Arial" pitchFamily="34" charset="0"/>
              <a:buChar char="»"/>
            </a:pPr>
            <a:r>
              <a:rPr lang="en-US" noProof="0" dirty="0"/>
              <a:t>Level 4</a:t>
            </a:r>
          </a:p>
          <a:p>
            <a:pPr marL="299085" lvl="4" indent="-74771" algn="l" defTabSz="474797" rtl="0" eaLnBrk="1" latinLnBrk="0" hangingPunct="1">
              <a:spcBef>
                <a:spcPts val="312"/>
              </a:spcBef>
              <a:buClr>
                <a:schemeClr val="accent3"/>
              </a:buClr>
              <a:buFont typeface="Arial" pitchFamily="34" charset="0"/>
              <a:buChar char="–"/>
            </a:pPr>
            <a:r>
              <a:rPr lang="en-US" noProof="0" dirty="0"/>
              <a:t>Level 5</a:t>
            </a:r>
          </a:p>
        </p:txBody>
      </p:sp>
    </p:spTree>
    <p:extLst>
      <p:ext uri="{BB962C8B-B14F-4D97-AF65-F5344CB8AC3E}">
        <p14:creationId xmlns:p14="http://schemas.microsoft.com/office/powerpoint/2010/main" val="40272209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341438"/>
            <a:ext cx="8308975" cy="46799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93639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341438"/>
            <a:ext cx="8308975" cy="46799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46229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26400" y="1893600"/>
            <a:ext cx="7888288" cy="44005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046738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1222375"/>
            <a:ext cx="7845425" cy="663575"/>
          </a:xfrm>
        </p:spPr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47700" y="1870075"/>
            <a:ext cx="7845425" cy="4402138"/>
          </a:xfr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2300199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F818F-3FEE-451A-8A03-8EDD0E51B721}" type="datetimeFigureOut">
              <a:rPr lang="en-US" smtClean="0"/>
              <a:t>6/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83BE4-D499-4D2F-9218-74AA5A62AE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7162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 tIns="432000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1694641"/>
            <a:ext cx="8307387" cy="1470025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3614738"/>
            <a:ext cx="8308975" cy="543194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9144000" cy="1159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7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6465600" y="381600"/>
            <a:ext cx="2289600" cy="586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928352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341438"/>
            <a:ext cx="8308975" cy="46609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5551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 tIns="72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7200"/>
            <a:ext cx="9144000" cy="3092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1341438"/>
            <a:ext cx="8307388" cy="115737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2682581"/>
            <a:ext cx="8308975" cy="389093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3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6465600" y="381600"/>
            <a:ext cx="2289600" cy="586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638892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0" y="1341438"/>
            <a:ext cx="4067175" cy="4679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9313" y="1341438"/>
            <a:ext cx="4068761" cy="4679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7184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15" name="Pladsholder til billede 14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 tIns="720000" anchor="ctr" anchorCtr="0"/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Backdrop single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7200"/>
            <a:ext cx="9144000" cy="3092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1341438"/>
            <a:ext cx="8307388" cy="115737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2682581"/>
            <a:ext cx="8308975" cy="389093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name and title of presenter</a:t>
            </a:r>
          </a:p>
        </p:txBody>
      </p:sp>
      <p:sp>
        <p:nvSpPr>
          <p:cNvPr id="13" name="Logo top"/>
          <p:cNvSpPr>
            <a:spLocks noGrp="1"/>
          </p:cNvSpPr>
          <p:nvPr>
            <p:ph type="body" sz="quarter" idx="11" hasCustomPrompt="1"/>
          </p:nvPr>
        </p:nvSpPr>
        <p:spPr>
          <a:xfrm>
            <a:off x="6465600" y="381600"/>
            <a:ext cx="2289600" cy="5868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8567128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95275"/>
            <a:ext cx="4067176" cy="93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341438"/>
            <a:ext cx="4067175" cy="467994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59313" y="0"/>
            <a:ext cx="4484686" cy="6392863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7304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3" y="295275"/>
            <a:ext cx="4068761" cy="93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0" y="1341438"/>
            <a:ext cx="4067855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486275" cy="6392863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292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341438"/>
            <a:ext cx="5160962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747275" y="1341439"/>
            <a:ext cx="2980800" cy="4679950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9814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0" y="1341438"/>
            <a:ext cx="5160475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19100" y="1341439"/>
            <a:ext cx="2980800" cy="4679950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5765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8" y="1341438"/>
            <a:ext cx="8301037" cy="51827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bmkFldAdditionalInfo"/>
          <p:cNvSpPr txBox="1">
            <a:spLocks noChangeArrowheads="1"/>
          </p:cNvSpPr>
          <p:nvPr userDrawn="1"/>
        </p:nvSpPr>
        <p:spPr bwMode="auto">
          <a:xfrm>
            <a:off x="64431" y="6621841"/>
            <a:ext cx="381042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rgbClr val="000000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rgbClr val="000000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8281775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341438"/>
            <a:ext cx="8308975" cy="467995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5995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0" y="1341438"/>
            <a:ext cx="4068000" cy="4679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4800" y="1341438"/>
            <a:ext cx="4068000" cy="4679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5767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95275"/>
            <a:ext cx="4067176" cy="93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341438"/>
            <a:ext cx="4067175" cy="467994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59313" y="0"/>
            <a:ext cx="4484686" cy="63928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9127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3" y="295275"/>
            <a:ext cx="4068761" cy="93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0" y="1341438"/>
            <a:ext cx="4067855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486275" cy="6392863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0146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341438"/>
            <a:ext cx="5160962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747275" y="1341439"/>
            <a:ext cx="2980800" cy="4679950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382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4"/>
          </p:nvPr>
        </p:nvSpPr>
        <p:spPr>
          <a:xfrm>
            <a:off x="419100" y="1341438"/>
            <a:ext cx="4067175" cy="4679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5"/>
          </p:nvPr>
        </p:nvSpPr>
        <p:spPr>
          <a:xfrm>
            <a:off x="4659313" y="1341438"/>
            <a:ext cx="4068761" cy="46799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67202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392863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0" y="1341438"/>
            <a:ext cx="5160475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19100" y="1341439"/>
            <a:ext cx="2980800" cy="4679950"/>
          </a:xfrm>
          <a:solidFill>
            <a:schemeClr val="bg1"/>
          </a:solidFill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5474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rgbClr val="C7C7C7"/>
              </a:gs>
              <a:gs pos="50000">
                <a:schemeClr val="bg1"/>
              </a:gs>
              <a:gs pos="100000">
                <a:srgbClr val="CDCDCD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8" y="1341438"/>
            <a:ext cx="8301037" cy="51827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bmkFldAdditionalInfo"/>
          <p:cNvSpPr txBox="1">
            <a:spLocks noChangeArrowheads="1"/>
          </p:cNvSpPr>
          <p:nvPr userDrawn="1"/>
        </p:nvSpPr>
        <p:spPr bwMode="auto">
          <a:xfrm>
            <a:off x="64431" y="6621841"/>
            <a:ext cx="381042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rgbClr val="000000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rgbClr val="000000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22318733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392863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0295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U:\Danfoss\Jobs\5123_Hjaelp til PowerPoint skabeloner\Received\Nyeste grafikker\Ny Grafik til SD\Ny Grafik til SD\PPT_frontpage_4-3_full_red_backdrop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20687" y="1694641"/>
            <a:ext cx="8307387" cy="1470025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insert Presentation title in</a:t>
            </a:r>
            <a:br>
              <a:rPr lang="en-GB" dirty="0"/>
            </a:br>
            <a:r>
              <a:rPr lang="en-GB" b="1" dirty="0"/>
              <a:t>Verdana Bold </a:t>
            </a:r>
            <a:r>
              <a:rPr lang="en-GB" dirty="0"/>
              <a:t>and Verdana Regula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099" y="3614738"/>
            <a:ext cx="8308975" cy="543194"/>
          </a:xfrm>
        </p:spPr>
        <p:txBody>
          <a:bodyPr/>
          <a:lstStyle>
            <a:lvl1pPr marL="0" indent="0" algn="l">
              <a:buNone/>
              <a:defRPr sz="1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insert tex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7532" y="188775"/>
            <a:ext cx="2289048" cy="5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4159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2051" name="Box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519" y="2189486"/>
            <a:ext cx="3098210" cy="1354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3887526"/>
            <a:ext cx="2466000" cy="643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5302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edium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19100" y="295275"/>
            <a:ext cx="4067176" cy="93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341438"/>
            <a:ext cx="4067175" cy="4679949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659313" y="0"/>
            <a:ext cx="4484686" cy="6392863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7596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659313" y="295275"/>
            <a:ext cx="4068761" cy="936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653870" y="1341438"/>
            <a:ext cx="4067855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486275" cy="6392863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82864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mall pictur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19100" y="1341438"/>
            <a:ext cx="5160962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5747275" y="1341439"/>
            <a:ext cx="2980800" cy="4679950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94543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and tex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67600" y="1341438"/>
            <a:ext cx="5160475" cy="4679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19100" y="1341439"/>
            <a:ext cx="2980800" cy="4679950"/>
          </a:xfrm>
        </p:spPr>
        <p:txBody>
          <a:bodyPr tIns="900000" anchor="ctr" anchorCtr="0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739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8" y="1341438"/>
            <a:ext cx="8301037" cy="51827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bmkFldAdditionalInfo"/>
          <p:cNvSpPr txBox="1">
            <a:spLocks noChangeArrowheads="1"/>
          </p:cNvSpPr>
          <p:nvPr userDrawn="1"/>
        </p:nvSpPr>
        <p:spPr bwMode="auto">
          <a:xfrm>
            <a:off x="64431" y="6621841"/>
            <a:ext cx="381042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chemeClr val="tx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chemeClr val="tx1"/>
                </a:solidFill>
                <a:ea typeface="SimHei"/>
                <a:cs typeface="Arial" charset="0"/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3558370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8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U:\Danfoss\Jobs\5123_Hjaelp til PowerPoint skabeloner\Received\Nyeste grafikker\Ny Grafik til SD\Ny Grafik til SD\PPT__4-3_bottom_bar.png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95022"/>
            <a:ext cx="9144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U:\Danfoss\Jobs\5123_Hjaelp til PowerPoint skabeloner\Received\Nyeste grafikker\Ny Grafik til SD\Ny Grafik til SD\PPT__4-3_bottom_bar_logo-only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95022"/>
            <a:ext cx="9144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95275"/>
            <a:ext cx="8308975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341438"/>
            <a:ext cx="8308975" cy="467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195943" y="290606"/>
            <a:ext cx="130629" cy="1046015"/>
            <a:chOff x="-478971" y="290606"/>
            <a:chExt cx="413657" cy="1046015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336621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8656411" y="-176843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355373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5688012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5513843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4592636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4418467" y="-176846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3503385" y="-176846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3329216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mkFldAdditionalInfo"/>
          <p:cNvSpPr txBox="1">
            <a:spLocks noChangeArrowheads="1"/>
          </p:cNvSpPr>
          <p:nvPr/>
        </p:nvSpPr>
        <p:spPr bwMode="auto">
          <a:xfrm>
            <a:off x="64431" y="6620799"/>
            <a:ext cx="381042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schemeClr val="bg1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schemeClr val="bg1"/>
                </a:solidFill>
                <a:ea typeface="SimHei"/>
                <a:cs typeface="Arial" charset="0"/>
              </a:rPr>
              <a:t> </a:t>
            </a:r>
            <a:r>
              <a:rPr lang="en-GB" sz="900" dirty="0">
                <a:solidFill>
                  <a:schemeClr val="bg1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9229950" y="290597"/>
            <a:ext cx="130629" cy="1045056"/>
            <a:chOff x="-478971" y="290597"/>
            <a:chExt cx="413657" cy="104505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33565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659313" y="6621841"/>
            <a:ext cx="1488568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B8A7D54C-D54F-43B1-99F6-F18074A4CDBC}" type="datetimeFigureOut">
              <a:rPr lang="en-GB" smtClean="0"/>
              <a:pPr/>
              <a:t>01/06/2018</a:t>
            </a:fld>
            <a:endParaRPr lang="en-GB" dirty="0"/>
          </a:p>
        </p:txBody>
      </p: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485774" y="6620189"/>
            <a:ext cx="3998007" cy="12223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US" sz="800" dirty="0">
                <a:solidFill>
                  <a:schemeClr val="bg1"/>
                </a:solidFill>
                <a:ea typeface="SimHei"/>
                <a:cs typeface="Arial" charset="0"/>
              </a:rPr>
              <a:t>Copyright © ▪ For internal use only ▪ Property of </a:t>
            </a:r>
            <a:r>
              <a:rPr lang="en-US" sz="800" dirty="0" err="1">
                <a:solidFill>
                  <a:schemeClr val="bg1"/>
                </a:solidFill>
                <a:ea typeface="SimHei"/>
                <a:cs typeface="Arial" charset="0"/>
              </a:rPr>
              <a:t>Danfoss</a:t>
            </a:r>
            <a:r>
              <a:rPr lang="en-US" sz="800" dirty="0">
                <a:solidFill>
                  <a:schemeClr val="bg1"/>
                </a:solidFill>
                <a:ea typeface="SimHei"/>
                <a:cs typeface="Arial" charset="0"/>
              </a:rPr>
              <a:t> Power Electronics</a:t>
            </a:r>
          </a:p>
        </p:txBody>
      </p:sp>
    </p:spTree>
    <p:extLst>
      <p:ext uri="{BB962C8B-B14F-4D97-AF65-F5344CB8AC3E}">
        <p14:creationId xmlns:p14="http://schemas.microsoft.com/office/powerpoint/2010/main" val="1716963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655" r:id="rId2"/>
    <p:sldLayoutId id="2147483733" r:id="rId3"/>
    <p:sldLayoutId id="2147483675" r:id="rId4"/>
    <p:sldLayoutId id="2147483686" r:id="rId5"/>
    <p:sldLayoutId id="2147483688" r:id="rId6"/>
    <p:sldLayoutId id="2147483674" r:id="rId7"/>
    <p:sldLayoutId id="2147483673" r:id="rId8"/>
    <p:sldLayoutId id="2147483660" r:id="rId9"/>
    <p:sldLayoutId id="2147483710" r:id="rId10"/>
    <p:sldLayoutId id="2147483720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666" r:id="rId17"/>
    <p:sldLayoutId id="2147483732" r:id="rId18"/>
    <p:sldLayoutId id="2147483709" r:id="rId19"/>
    <p:sldLayoutId id="2147483775" r:id="rId20"/>
    <p:sldLayoutId id="2147483776" r:id="rId21"/>
    <p:sldLayoutId id="2147483777" r:id="rId22"/>
    <p:sldLayoutId id="2147483780" r:id="rId23"/>
    <p:sldLayoutId id="2147483783" r:id="rId24"/>
    <p:sldLayoutId id="2147483784" r:id="rId25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328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U:\Danfoss\Jobs\5123_Hjaelp til PowerPoint skabeloner\Received\Nyeste grafikker\Ny Grafik til SD\Ny Grafik til SD\PPT__4-3_bottom_bar.pn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95022"/>
            <a:ext cx="9144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U:\Danfoss\Jobs\5123_Hjaelp til PowerPoint skabeloner\Received\Nyeste grafikker\Ny Grafik til SD\Ny Grafik til SD\PPT__4-3_bottom_bar_logo-only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95022"/>
            <a:ext cx="9144000" cy="46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099" y="295275"/>
            <a:ext cx="8308975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9100" y="1341438"/>
            <a:ext cx="8308975" cy="467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24" name="Group 23"/>
          <p:cNvGrpSpPr/>
          <p:nvPr/>
        </p:nvGrpSpPr>
        <p:grpSpPr>
          <a:xfrm>
            <a:off x="-195943" y="290606"/>
            <a:ext cx="130629" cy="1046015"/>
            <a:chOff x="-478971" y="290606"/>
            <a:chExt cx="413657" cy="1046015"/>
          </a:xfrm>
        </p:grpSpPr>
        <p:cxnSp>
          <p:nvCxnSpPr>
            <p:cNvPr id="16" name="Straight Connector 15"/>
            <p:cNvCxnSpPr/>
            <p:nvPr userDrawn="1"/>
          </p:nvCxnSpPr>
          <p:spPr>
            <a:xfrm flipH="1">
              <a:off x="-478971" y="290606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H="1">
              <a:off x="-478971" y="1336621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Straight Connector 30"/>
          <p:cNvCxnSpPr/>
          <p:nvPr/>
        </p:nvCxnSpPr>
        <p:spPr>
          <a:xfrm rot="5400000" flipH="1">
            <a:off x="8656411" y="-176843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 rot="5400000" flipH="1">
            <a:off x="355373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 rot="5400000" flipH="1">
            <a:off x="5688012" y="-176844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rot="5400000" flipH="1">
            <a:off x="5513843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rot="5400000" flipH="1">
            <a:off x="4592636" y="-176845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rot="5400000" flipH="1">
            <a:off x="4418467" y="-176846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rot="5400000" flipH="1">
            <a:off x="3503385" y="-176846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>
            <a:off x="3329216" y="-176847"/>
            <a:ext cx="13062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bmkFldAdditionalInfo"/>
          <p:cNvSpPr txBox="1">
            <a:spLocks noChangeArrowheads="1"/>
          </p:cNvSpPr>
          <p:nvPr/>
        </p:nvSpPr>
        <p:spPr bwMode="auto">
          <a:xfrm>
            <a:off x="64431" y="6620799"/>
            <a:ext cx="381042" cy="1224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algn="r" fontAlgn="base">
              <a:spcBef>
                <a:spcPct val="20000"/>
              </a:spcBef>
              <a:spcAft>
                <a:spcPct val="0"/>
              </a:spcAft>
              <a:buClr>
                <a:srgbClr val="808080"/>
              </a:buClr>
            </a:pPr>
            <a:fld id="{21B19618-E8F0-4C5A-87AE-B0CCB4D6BB5E}" type="slidenum">
              <a:rPr lang="en-GB" sz="800" b="1" smtClean="0">
                <a:solidFill>
                  <a:prstClr val="white"/>
                </a:solidFill>
                <a:ea typeface="SimHei"/>
                <a:cs typeface="Arial" charset="0"/>
              </a:rPr>
              <a:pPr algn="r" fontAlgn="base">
                <a:spcBef>
                  <a:spcPct val="20000"/>
                </a:spcBef>
                <a:spcAft>
                  <a:spcPct val="0"/>
                </a:spcAft>
                <a:buClr>
                  <a:srgbClr val="808080"/>
                </a:buClr>
              </a:pPr>
              <a:t>‹#›</a:t>
            </a:fld>
            <a:r>
              <a:rPr lang="en-GB" sz="800" dirty="0">
                <a:solidFill>
                  <a:prstClr val="white"/>
                </a:solidFill>
                <a:ea typeface="SimHei"/>
                <a:cs typeface="Arial" charset="0"/>
              </a:rPr>
              <a:t> </a:t>
            </a:r>
            <a:r>
              <a:rPr lang="en-GB" sz="900" dirty="0">
                <a:solidFill>
                  <a:prstClr val="white"/>
                </a:solidFill>
                <a:ea typeface="SimHei"/>
                <a:cs typeface="Arial" charset="0"/>
              </a:rPr>
              <a:t>|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9229950" y="290597"/>
            <a:ext cx="130629" cy="1045056"/>
            <a:chOff x="-478971" y="290597"/>
            <a:chExt cx="413657" cy="1045056"/>
          </a:xfrm>
        </p:grpSpPr>
        <p:cxnSp>
          <p:nvCxnSpPr>
            <p:cNvPr id="40" name="Straight Connector 39"/>
            <p:cNvCxnSpPr/>
            <p:nvPr userDrawn="1"/>
          </p:nvCxnSpPr>
          <p:spPr>
            <a:xfrm flipH="1">
              <a:off x="-478971" y="290597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 userDrawn="1"/>
          </p:nvCxnSpPr>
          <p:spPr>
            <a:xfrm flipH="1">
              <a:off x="-478971" y="1335653"/>
              <a:ext cx="41365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4659313" y="6621841"/>
            <a:ext cx="1488568" cy="1224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B8A7D54C-D54F-43B1-99F6-F18074A4CDBC}" type="datetimeFigureOut">
              <a:rPr lang="en-GB" smtClean="0">
                <a:solidFill>
                  <a:prstClr val="white"/>
                </a:solidFill>
              </a:rPr>
              <a:pPr/>
              <a:t>01/06/2018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6" name="bmkFldAdditionalInfo"/>
          <p:cNvSpPr txBox="1">
            <a:spLocks noChangeArrowheads="1"/>
          </p:cNvSpPr>
          <p:nvPr/>
        </p:nvSpPr>
        <p:spPr bwMode="auto">
          <a:xfrm>
            <a:off x="485774" y="6620189"/>
            <a:ext cx="3998007" cy="122238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lIns="0" tIns="0" rIns="0" bIns="0" anchor="b" anchorCtr="0"/>
          <a:lstStyle/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808080"/>
              </a:buClr>
            </a:pPr>
            <a:r>
              <a:rPr lang="en-US" sz="800" dirty="0">
                <a:solidFill>
                  <a:prstClr val="white"/>
                </a:solidFill>
                <a:ea typeface="SimHei"/>
                <a:cs typeface="Arial" charset="0"/>
              </a:rPr>
              <a:t>Copyright © ▪ For internal use only ▪ Property of </a:t>
            </a:r>
            <a:r>
              <a:rPr lang="en-US" sz="800" dirty="0" err="1">
                <a:solidFill>
                  <a:prstClr val="white"/>
                </a:solidFill>
                <a:ea typeface="SimHei"/>
                <a:cs typeface="Arial" charset="0"/>
              </a:rPr>
              <a:t>Danfoss</a:t>
            </a:r>
            <a:r>
              <a:rPr lang="en-US" sz="800" dirty="0">
                <a:solidFill>
                  <a:prstClr val="white"/>
                </a:solidFill>
                <a:ea typeface="SimHei"/>
                <a:cs typeface="Arial" charset="0"/>
              </a:rPr>
              <a:t> Power Electronics</a:t>
            </a:r>
          </a:p>
        </p:txBody>
      </p:sp>
    </p:spTree>
    <p:extLst>
      <p:ext uri="{BB962C8B-B14F-4D97-AF65-F5344CB8AC3E}">
        <p14:creationId xmlns:p14="http://schemas.microsoft.com/office/powerpoint/2010/main" val="3102652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328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>
            <a:lumMod val="50000"/>
            <a:lumOff val="50000"/>
          </a:schemeClr>
        </a:buClr>
        <a:buFont typeface="Verdana" panose="020B060403050404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5.pn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8.jpeg"/><Relationship Id="rId11" Type="http://schemas.openxmlformats.org/officeDocument/2006/relationships/image" Target="../media/image63.png"/><Relationship Id="rId5" Type="http://schemas.openxmlformats.org/officeDocument/2006/relationships/image" Target="../media/image57.jpeg"/><Relationship Id="rId10" Type="http://schemas.openxmlformats.org/officeDocument/2006/relationships/image" Target="../media/image62.png"/><Relationship Id="rId4" Type="http://schemas.openxmlformats.org/officeDocument/2006/relationships/image" Target="../media/image56.jpeg"/><Relationship Id="rId9" Type="http://schemas.openxmlformats.org/officeDocument/2006/relationships/image" Target="../media/image61.png"/><Relationship Id="rId14" Type="http://schemas.openxmlformats.org/officeDocument/2006/relationships/image" Target="../media/image6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6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emf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7.xml"/><Relationship Id="rId5" Type="http://schemas.openxmlformats.org/officeDocument/2006/relationships/image" Target="../media/image75.jpeg"/><Relationship Id="rId4" Type="http://schemas.openxmlformats.org/officeDocument/2006/relationships/image" Target="../media/image7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7" Type="http://schemas.openxmlformats.org/officeDocument/2006/relationships/image" Target="../media/image80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8.xml"/><Relationship Id="rId6" Type="http://schemas.openxmlformats.org/officeDocument/2006/relationships/image" Target="../media/image79.jpeg"/><Relationship Id="rId5" Type="http://schemas.openxmlformats.org/officeDocument/2006/relationships/image" Target="../media/image78.jpeg"/><Relationship Id="rId4" Type="http://schemas.openxmlformats.org/officeDocument/2006/relationships/image" Target="../media/image7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7" Type="http://schemas.openxmlformats.org/officeDocument/2006/relationships/image" Target="../media/image85.jpe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9.xml"/><Relationship Id="rId6" Type="http://schemas.openxmlformats.org/officeDocument/2006/relationships/image" Target="../media/image84.jpe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jpeg"/><Relationship Id="rId3" Type="http://schemas.openxmlformats.org/officeDocument/2006/relationships/image" Target="../media/image86.jpeg"/><Relationship Id="rId7" Type="http://schemas.openxmlformats.org/officeDocument/2006/relationships/image" Target="../media/image90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0.xml"/><Relationship Id="rId6" Type="http://schemas.openxmlformats.org/officeDocument/2006/relationships/image" Target="../media/image89.png"/><Relationship Id="rId11" Type="http://schemas.openxmlformats.org/officeDocument/2006/relationships/image" Target="../media/image94.jpeg"/><Relationship Id="rId5" Type="http://schemas.openxmlformats.org/officeDocument/2006/relationships/image" Target="../media/image88.jpeg"/><Relationship Id="rId10" Type="http://schemas.openxmlformats.org/officeDocument/2006/relationships/image" Target="../media/image93.png"/><Relationship Id="rId4" Type="http://schemas.openxmlformats.org/officeDocument/2006/relationships/image" Target="../media/image87.jpeg"/><Relationship Id="rId9" Type="http://schemas.openxmlformats.org/officeDocument/2006/relationships/image" Target="../media/image9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g"/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jpe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3" Type="http://schemas.openxmlformats.org/officeDocument/2006/relationships/image" Target="../media/image15.jpeg"/><Relationship Id="rId21" Type="http://schemas.openxmlformats.org/officeDocument/2006/relationships/image" Target="../media/image32.jpeg"/><Relationship Id="rId7" Type="http://schemas.openxmlformats.org/officeDocument/2006/relationships/image" Target="../media/image19.jpeg"/><Relationship Id="rId12" Type="http://schemas.openxmlformats.org/officeDocument/2006/relationships/hyperlink" Target="/upload.wikimedia.org/wikipedia/en/f/f8/Logo_SMA.svg" TargetMode="External"/><Relationship Id="rId17" Type="http://schemas.openxmlformats.org/officeDocument/2006/relationships/image" Target="../media/image28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7.jpeg"/><Relationship Id="rId20" Type="http://schemas.openxmlformats.org/officeDocument/2006/relationships/image" Target="../media/image31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8.jpeg"/><Relationship Id="rId11" Type="http://schemas.openxmlformats.org/officeDocument/2006/relationships/image" Target="../media/image23.jpeg"/><Relationship Id="rId5" Type="http://schemas.openxmlformats.org/officeDocument/2006/relationships/image" Target="../media/image17.jpeg"/><Relationship Id="rId15" Type="http://schemas.openxmlformats.org/officeDocument/2006/relationships/image" Target="../media/image26.jpeg"/><Relationship Id="rId10" Type="http://schemas.openxmlformats.org/officeDocument/2006/relationships/image" Target="../media/image22.jpeg"/><Relationship Id="rId19" Type="http://schemas.openxmlformats.org/officeDocument/2006/relationships/image" Target="../media/image30.jpeg"/><Relationship Id="rId4" Type="http://schemas.openxmlformats.org/officeDocument/2006/relationships/image" Target="../media/image16.jpeg"/><Relationship Id="rId9" Type="http://schemas.openxmlformats.org/officeDocument/2006/relationships/image" Target="../media/image21.jpeg"/><Relationship Id="rId14" Type="http://schemas.openxmlformats.org/officeDocument/2006/relationships/image" Target="../media/image25.png"/><Relationship Id="rId22" Type="http://schemas.openxmlformats.org/officeDocument/2006/relationships/image" Target="../media/image3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50.pn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image" Target="../media/image51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49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48.emf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slideLayout" Target="../slideLayouts/slideLayout20.xml"/><Relationship Id="rId30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0" y="7200"/>
            <a:ext cx="9144000" cy="468746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b="1" dirty="0"/>
              <a:t>A better tomorrow</a:t>
            </a:r>
            <a:br>
              <a:rPr lang="en-US" altLang="zh-CN" b="1" dirty="0"/>
            </a:br>
            <a:r>
              <a:rPr lang="en-US" altLang="zh-CN" b="1" dirty="0"/>
              <a:t>is driven by drives </a:t>
            </a:r>
            <a:endParaRPr lang="en-US" b="1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kumimoji="1" lang="zh-CN" altLang="en-US" sz="1800" dirty="0">
                <a:ea typeface="幼圆" pitchFamily="49" charset="-122"/>
              </a:rPr>
              <a:t> </a:t>
            </a:r>
            <a:endParaRPr lang="en-US" sz="1200" i="1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419100" y="1273240"/>
            <a:ext cx="6590497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500" b="1" dirty="0">
                <a:solidFill>
                  <a:schemeClr val="bg1"/>
                </a:solidFill>
              </a:rPr>
              <a:t>丹佛斯传动公司介绍</a:t>
            </a:r>
            <a:endParaRPr lang="da-DK" sz="15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2461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36"/>
          <a:stretch/>
        </p:blipFill>
        <p:spPr>
          <a:xfrm>
            <a:off x="414768" y="2918876"/>
            <a:ext cx="2089992" cy="131652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1176" y="4507423"/>
            <a:ext cx="2081192" cy="138746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224" y="1310150"/>
            <a:ext cx="2069824" cy="137988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1224" y="2912567"/>
            <a:ext cx="2076850" cy="13845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000" dirty="0">
                <a:solidFill>
                  <a:schemeClr val="accent1"/>
                </a:solidFill>
              </a:rPr>
              <a:t>丹佛斯专注</a:t>
            </a:r>
            <a:r>
              <a:rPr lang="zh-CN" altLang="en-US" sz="3000" dirty="0"/>
              <a:t>行业应用</a:t>
            </a:r>
            <a:endParaRPr lang="en-US" sz="30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7"/>
          <a:srcRect t="18046" r="25136" b="8319"/>
          <a:stretch/>
        </p:blipFill>
        <p:spPr>
          <a:xfrm>
            <a:off x="2493038" y="2932563"/>
            <a:ext cx="2077223" cy="130020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/>
          <a:srcRect l="370" t="8938" r="44944" b="37039"/>
          <a:stretch/>
        </p:blipFill>
        <p:spPr>
          <a:xfrm>
            <a:off x="412075" y="1314825"/>
            <a:ext cx="2075679" cy="130173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9"/>
          <a:srcRect t="19527" r="25418" b="7508"/>
          <a:stretch/>
        </p:blipFill>
        <p:spPr>
          <a:xfrm>
            <a:off x="4570260" y="1314880"/>
            <a:ext cx="2077220" cy="129536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10"/>
          <a:srcRect l="-254" t="6947" r="25771" b="19356"/>
          <a:stretch/>
        </p:blipFill>
        <p:spPr>
          <a:xfrm>
            <a:off x="2498324" y="1314878"/>
            <a:ext cx="2066651" cy="130009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11"/>
          <a:srcRect t="18441" r="25136" b="7745"/>
          <a:stretch/>
        </p:blipFill>
        <p:spPr>
          <a:xfrm>
            <a:off x="4564975" y="2932563"/>
            <a:ext cx="2077221" cy="1298963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12"/>
          <a:srcRect t="13665" r="25371" b="9596"/>
          <a:stretch/>
        </p:blipFill>
        <p:spPr>
          <a:xfrm>
            <a:off x="417360" y="4519484"/>
            <a:ext cx="2065108" cy="134904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13"/>
          <a:srcRect t="9378" r="25176" b="13782"/>
          <a:stretch/>
        </p:blipFill>
        <p:spPr>
          <a:xfrm>
            <a:off x="4566075" y="4516383"/>
            <a:ext cx="2076120" cy="1354488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14"/>
          <a:srcRect l="-254" t="12196" r="25356" b="10783"/>
          <a:stretch/>
        </p:blipFill>
        <p:spPr>
          <a:xfrm>
            <a:off x="2486812" y="4516384"/>
            <a:ext cx="2078163" cy="1354487"/>
          </a:xfrm>
          <a:prstGeom prst="rect">
            <a:avLst/>
          </a:prstGeom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9368039"/>
              </p:ext>
            </p:extLst>
          </p:nvPr>
        </p:nvGraphicFramePr>
        <p:xfrm>
          <a:off x="412073" y="1315260"/>
          <a:ext cx="8316000" cy="4752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79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9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79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79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296000">
                <a:tc>
                  <a:txBody>
                    <a:bodyPr/>
                    <a:lstStyle/>
                    <a:p>
                      <a:endParaRPr lang="fi-FI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i-FI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i-FI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i-FI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1" dirty="0">
                          <a:solidFill>
                            <a:schemeClr val="bg1"/>
                          </a:solidFill>
                          <a:cs typeface="Myriad Pro Light"/>
                        </a:rPr>
                        <a:t>暖通空调和制冷</a:t>
                      </a:r>
                      <a:endParaRPr lang="fi-FI" sz="900" b="1" dirty="0">
                        <a:solidFill>
                          <a:schemeClr val="bg1"/>
                        </a:solidFill>
                        <a:cs typeface="Myriad Pro Ligh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900" b="1" dirty="0">
                          <a:solidFill>
                            <a:schemeClr val="bg1"/>
                          </a:solidFill>
                        </a:rPr>
                        <a:t>食品饮料和包装</a:t>
                      </a:r>
                      <a:endParaRPr lang="fi-FI" sz="900" b="1" dirty="0">
                        <a:solidFill>
                          <a:schemeClr val="bg1"/>
                        </a:solidFill>
                        <a:cs typeface="Myriad Pro Ligh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900" b="1" dirty="0">
                          <a:solidFill>
                            <a:schemeClr val="bg1"/>
                          </a:solidFill>
                          <a:cs typeface="Myriad Pro Light"/>
                        </a:rPr>
                        <a:t>水及污水处理</a:t>
                      </a:r>
                      <a:endParaRPr lang="fi-FI" sz="900" b="1" dirty="0">
                        <a:solidFill>
                          <a:schemeClr val="bg1"/>
                        </a:solidFill>
                        <a:cs typeface="Myriad Pro Ligh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900" b="1" dirty="0">
                          <a:solidFill>
                            <a:schemeClr val="bg1"/>
                          </a:solidFill>
                          <a:cs typeface="Myriad Pro Light"/>
                        </a:rPr>
                        <a:t>油气开采</a:t>
                      </a:r>
                      <a:endParaRPr lang="fi-FI" sz="900" b="1" dirty="0">
                        <a:solidFill>
                          <a:schemeClr val="bg1"/>
                        </a:solidFill>
                        <a:cs typeface="Myriad Pro Ligh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96000">
                <a:tc>
                  <a:txBody>
                    <a:bodyPr/>
                    <a:lstStyle/>
                    <a:p>
                      <a:endParaRPr lang="fi-FI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i-FI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i-FI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i-FI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900" b="1" dirty="0">
                          <a:solidFill>
                            <a:schemeClr val="bg1"/>
                          </a:solidFill>
                          <a:cs typeface="Myriad Pro Light"/>
                        </a:rPr>
                        <a:t>纺织</a:t>
                      </a:r>
                      <a:endParaRPr lang="fi-FI" sz="900" b="1" dirty="0">
                        <a:solidFill>
                          <a:schemeClr val="bg1"/>
                        </a:solidFill>
                        <a:cs typeface="Myriad Pro Ligh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900" b="1" dirty="0">
                          <a:solidFill>
                            <a:schemeClr val="bg1"/>
                          </a:solidFill>
                          <a:cs typeface="Myriad Pro Light"/>
                        </a:rPr>
                        <a:t>船舶和海工</a:t>
                      </a:r>
                      <a:endParaRPr lang="fi-FI" sz="900" b="1" dirty="0">
                        <a:solidFill>
                          <a:schemeClr val="bg1"/>
                        </a:solidFill>
                        <a:cs typeface="Myriad Pro Ligh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900" b="1" dirty="0">
                          <a:solidFill>
                            <a:schemeClr val="bg1"/>
                          </a:solidFill>
                          <a:cs typeface="Myriad Pro Light"/>
                        </a:rPr>
                        <a:t>采矿</a:t>
                      </a:r>
                      <a:endParaRPr lang="fi-FI" sz="900" b="1" dirty="0">
                        <a:solidFill>
                          <a:schemeClr val="bg1"/>
                        </a:solidFill>
                        <a:cs typeface="Myriad Pro Ligh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900" b="1" dirty="0">
                          <a:solidFill>
                            <a:schemeClr val="bg1"/>
                          </a:solidFill>
                          <a:cs typeface="Myriad Pro Light"/>
                        </a:rPr>
                        <a:t>冶金和能源</a:t>
                      </a:r>
                      <a:endParaRPr lang="fi-FI" sz="900" b="1" dirty="0">
                        <a:solidFill>
                          <a:schemeClr val="bg1"/>
                        </a:solidFill>
                        <a:cs typeface="Myriad Pro Ligh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96000">
                <a:tc>
                  <a:txBody>
                    <a:bodyPr/>
                    <a:lstStyle/>
                    <a:p>
                      <a:endParaRPr lang="fi-FI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i-FI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i-FI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fi-FI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r>
                        <a:rPr lang="zh-CN" altLang="en-US" sz="900" b="1" dirty="0">
                          <a:solidFill>
                            <a:schemeClr val="bg1"/>
                          </a:solidFill>
                          <a:cs typeface="Myriad Pro Light"/>
                        </a:rPr>
                        <a:t>化工</a:t>
                      </a:r>
                      <a:endParaRPr lang="fi-FI" sz="900" b="1" dirty="0">
                        <a:solidFill>
                          <a:schemeClr val="bg1"/>
                        </a:solidFill>
                        <a:cs typeface="Myriad Pro Ligh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900" b="1" dirty="0">
                          <a:solidFill>
                            <a:schemeClr val="bg1"/>
                          </a:solidFill>
                          <a:cs typeface="Myriad Pro Light"/>
                        </a:rPr>
                        <a:t>起重提升</a:t>
                      </a:r>
                      <a:endParaRPr lang="fi-FI" sz="900" b="1" dirty="0">
                        <a:solidFill>
                          <a:schemeClr val="bg1"/>
                        </a:solidFill>
                        <a:cs typeface="Myriad Pro Ligh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900" b="1" dirty="0">
                          <a:solidFill>
                            <a:schemeClr val="bg1"/>
                          </a:solidFill>
                          <a:cs typeface="Myriad Pro Light"/>
                        </a:rPr>
                        <a:t>电梯扶梯</a:t>
                      </a:r>
                      <a:endParaRPr lang="fi-FI" sz="900" b="1" dirty="0">
                        <a:solidFill>
                          <a:schemeClr val="bg1"/>
                        </a:solidFill>
                        <a:cs typeface="Myriad Pro Ligh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900" b="1" dirty="0">
                          <a:solidFill>
                            <a:schemeClr val="bg1"/>
                          </a:solidFill>
                          <a:cs typeface="Myriad Pro Light"/>
                        </a:rPr>
                        <a:t>造纸</a:t>
                      </a:r>
                      <a:endParaRPr lang="fi-FI" sz="900" b="1" dirty="0">
                        <a:solidFill>
                          <a:schemeClr val="bg1"/>
                        </a:solidFill>
                        <a:cs typeface="Myriad Pro Light"/>
                      </a:endParaRPr>
                    </a:p>
                  </a:txBody>
                  <a:tcPr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38380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19099" y="433504"/>
            <a:ext cx="8308975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：丹佛斯的第二家乡市场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305339" y="1852437"/>
            <a:ext cx="241964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dirty="0">
                <a:latin typeface="+mn-ea"/>
              </a:rPr>
              <a:t>家销售分公司</a:t>
            </a:r>
            <a:endParaRPr lang="en-US" sz="1600" dirty="0">
              <a:latin typeface="+mn-ea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305339" y="3924060"/>
            <a:ext cx="241964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dirty="0">
                <a:latin typeface="+mn-ea"/>
              </a:rPr>
              <a:t>家法人实体</a:t>
            </a:r>
            <a:endParaRPr lang="en-US" sz="1600" dirty="0">
              <a:latin typeface="+mn-ea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05338" y="4988900"/>
            <a:ext cx="241964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dirty="0">
                <a:latin typeface="+mn-ea"/>
              </a:rPr>
              <a:t>个生产基地</a:t>
            </a:r>
            <a:endParaRPr lang="en-US" sz="1600" dirty="0">
              <a:latin typeface="+mn-ea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305339" y="2888787"/>
            <a:ext cx="241964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销售办事处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60589" y="1495785"/>
            <a:ext cx="944749" cy="886755"/>
            <a:chOff x="3530681" y="1341438"/>
            <a:chExt cx="944749" cy="886755"/>
          </a:xfrm>
          <a:gradFill>
            <a:gsLst>
              <a:gs pos="0">
                <a:schemeClr val="accent1"/>
              </a:gs>
              <a:gs pos="67000">
                <a:schemeClr val="accent2"/>
              </a:gs>
              <a:gs pos="100000">
                <a:schemeClr val="accent1"/>
              </a:gs>
            </a:gsLst>
            <a:lin ang="0" scaled="0"/>
          </a:gradFill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5" name="Isosceles Triangle 14"/>
            <p:cNvSpPr/>
            <p:nvPr/>
          </p:nvSpPr>
          <p:spPr>
            <a:xfrm rot="5400000">
              <a:off x="4294471" y="1712232"/>
              <a:ext cx="216752" cy="145167"/>
            </a:xfrm>
            <a:prstGeom prst="triangle">
              <a:avLst>
                <a:gd name="adj" fmla="val 52747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noProof="0" dirty="0" err="1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530681" y="1341438"/>
              <a:ext cx="799582" cy="88675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i-FI" sz="2400" b="1" noProof="0" dirty="0"/>
                <a:t>12</a:t>
              </a:r>
              <a:endParaRPr lang="fi-FI" sz="1400" b="1" noProof="0" dirty="0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353684" y="2553401"/>
            <a:ext cx="944749" cy="886755"/>
            <a:chOff x="3530681" y="1341438"/>
            <a:chExt cx="944749" cy="886755"/>
          </a:xfrm>
          <a:gradFill>
            <a:gsLst>
              <a:gs pos="0">
                <a:schemeClr val="accent1"/>
              </a:gs>
              <a:gs pos="67000">
                <a:schemeClr val="accent2"/>
              </a:gs>
              <a:gs pos="100000">
                <a:schemeClr val="accent1"/>
              </a:gs>
            </a:gsLst>
            <a:lin ang="0" scaled="0"/>
          </a:gradFill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" name="Isosceles Triangle 19"/>
            <p:cNvSpPr/>
            <p:nvPr/>
          </p:nvSpPr>
          <p:spPr>
            <a:xfrm rot="5400000">
              <a:off x="4294471" y="1712232"/>
              <a:ext cx="216752" cy="145167"/>
            </a:xfrm>
            <a:prstGeom prst="triangle">
              <a:avLst>
                <a:gd name="adj" fmla="val 52747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noProof="0" dirty="0" err="1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530681" y="1341438"/>
              <a:ext cx="799582" cy="88675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i-FI" sz="2400" b="1" noProof="0" dirty="0"/>
                <a:t>14</a:t>
              </a:r>
              <a:endParaRPr lang="fi-FI" sz="1400" b="1" noProof="0" dirty="0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62646" y="3603792"/>
            <a:ext cx="944749" cy="886755"/>
            <a:chOff x="3530681" y="1341438"/>
            <a:chExt cx="944749" cy="886755"/>
          </a:xfrm>
          <a:gradFill>
            <a:gsLst>
              <a:gs pos="0">
                <a:schemeClr val="accent1"/>
              </a:gs>
              <a:gs pos="67000">
                <a:schemeClr val="accent2"/>
              </a:gs>
              <a:gs pos="100000">
                <a:schemeClr val="accent1"/>
              </a:gs>
            </a:gsLst>
            <a:lin ang="0" scaled="0"/>
          </a:gradFill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" name="Isosceles Triangle 22"/>
            <p:cNvSpPr/>
            <p:nvPr/>
          </p:nvSpPr>
          <p:spPr>
            <a:xfrm rot="5400000">
              <a:off x="4294471" y="1712232"/>
              <a:ext cx="216752" cy="145167"/>
            </a:xfrm>
            <a:prstGeom prst="triangle">
              <a:avLst>
                <a:gd name="adj" fmla="val 52747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noProof="0" dirty="0" err="1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530681" y="1341438"/>
              <a:ext cx="799582" cy="88675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i-FI" sz="2400" b="1" noProof="0" dirty="0"/>
                <a:t>8</a:t>
              </a:r>
              <a:endParaRPr lang="fi-FI" sz="1400" b="1" noProof="0" dirty="0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53684" y="4668632"/>
            <a:ext cx="944749" cy="886755"/>
            <a:chOff x="3530681" y="1341438"/>
            <a:chExt cx="944749" cy="886755"/>
          </a:xfrm>
          <a:gradFill>
            <a:gsLst>
              <a:gs pos="0">
                <a:schemeClr val="accent1"/>
              </a:gs>
              <a:gs pos="67000">
                <a:schemeClr val="accent2"/>
              </a:gs>
              <a:gs pos="100000">
                <a:schemeClr val="accent1"/>
              </a:gs>
            </a:gsLst>
            <a:lin ang="0" scaled="0"/>
          </a:gradFill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6" name="Isosceles Triangle 25"/>
            <p:cNvSpPr/>
            <p:nvPr/>
          </p:nvSpPr>
          <p:spPr>
            <a:xfrm rot="5400000">
              <a:off x="4294471" y="1712232"/>
              <a:ext cx="216752" cy="145167"/>
            </a:xfrm>
            <a:prstGeom prst="triangle">
              <a:avLst>
                <a:gd name="adj" fmla="val 52747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noProof="0" dirty="0" err="1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530681" y="1341438"/>
              <a:ext cx="799582" cy="886755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i-FI" sz="2400" b="1" noProof="0" dirty="0"/>
                <a:t>3</a:t>
              </a:r>
              <a:endParaRPr lang="fi-FI" sz="1400" b="1" noProof="0" dirty="0"/>
            </a:p>
          </p:txBody>
        </p:sp>
      </p:grpSp>
      <p:pic>
        <p:nvPicPr>
          <p:cNvPr id="30" name="Picture 14" descr="090701_HolipFactoryHaiyan_2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54" r="12531" b="15861"/>
          <a:stretch/>
        </p:blipFill>
        <p:spPr bwMode="auto">
          <a:xfrm>
            <a:off x="7115258" y="4835691"/>
            <a:ext cx="2017089" cy="1510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/>
          <p:nvPr/>
        </p:nvSpPr>
        <p:spPr>
          <a:xfrm>
            <a:off x="4787368" y="5612154"/>
            <a:ext cx="2297721" cy="721736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solidFill>
              <a:schemeClr val="bg2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Aft>
                <a:spcPct val="30000"/>
              </a:spcAft>
              <a:buClr>
                <a:schemeClr val="accent1"/>
              </a:buClr>
            </a:pPr>
            <a:r>
              <a:rPr lang="zh-CN" altLang="en-US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海盐传动产品工厂</a:t>
            </a:r>
            <a:r>
              <a:rPr lang="zh-CN" altLang="en-US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Aft>
                <a:spcPct val="300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zh-CN" altLang="en-US" sz="11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厂房面积：</a:t>
            </a:r>
            <a:r>
              <a:rPr lang="da-DK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39,000 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米</a:t>
            </a:r>
            <a:endParaRPr lang="en-US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Aft>
                <a:spcPct val="30000"/>
              </a:spcAft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厂产能</a:t>
            </a:r>
            <a:r>
              <a:rPr lang="da-DK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   1</a:t>
            </a: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8</a:t>
            </a:r>
            <a:r>
              <a:rPr lang="da-DK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0,000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台</a:t>
            </a: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lang="da-DK" altLang="zh-CN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294627" y="955725"/>
            <a:ext cx="5955493" cy="4468155"/>
            <a:chOff x="1518783" y="955725"/>
            <a:chExt cx="5955493" cy="4468155"/>
          </a:xfrm>
        </p:grpSpPr>
        <p:grpSp>
          <p:nvGrpSpPr>
            <p:cNvPr id="3" name="Group 2"/>
            <p:cNvGrpSpPr/>
            <p:nvPr/>
          </p:nvGrpSpPr>
          <p:grpSpPr>
            <a:xfrm>
              <a:off x="1518783" y="955725"/>
              <a:ext cx="5955493" cy="4468155"/>
              <a:chOff x="2670185" y="975922"/>
              <a:chExt cx="5955493" cy="4468155"/>
            </a:xfrm>
          </p:grpSpPr>
          <p:sp>
            <p:nvSpPr>
              <p:cNvPr id="110" name="Freeform 7"/>
              <p:cNvSpPr>
                <a:spLocks/>
              </p:cNvSpPr>
              <p:nvPr/>
            </p:nvSpPr>
            <p:spPr bwMode="auto">
              <a:xfrm>
                <a:off x="7356711" y="2176322"/>
                <a:ext cx="699374" cy="594970"/>
              </a:xfrm>
              <a:custGeom>
                <a:avLst/>
                <a:gdLst>
                  <a:gd name="T0" fmla="*/ 821718287 w 293"/>
                  <a:gd name="T1" fmla="*/ 1897216634 h 275"/>
                  <a:gd name="T2" fmla="*/ 801003548 w 293"/>
                  <a:gd name="T3" fmla="*/ 1897216634 h 275"/>
                  <a:gd name="T4" fmla="*/ 904582502 w 293"/>
                  <a:gd name="T5" fmla="*/ 1773034183 h 275"/>
                  <a:gd name="T6" fmla="*/ 946011981 w 293"/>
                  <a:gd name="T7" fmla="*/ 1710944271 h 275"/>
                  <a:gd name="T8" fmla="*/ 946011981 w 293"/>
                  <a:gd name="T9" fmla="*/ 1648854359 h 275"/>
                  <a:gd name="T10" fmla="*/ 863150395 w 293"/>
                  <a:gd name="T11" fmla="*/ 1607459334 h 275"/>
                  <a:gd name="T12" fmla="*/ 966726721 w 293"/>
                  <a:gd name="T13" fmla="*/ 1379794572 h 275"/>
                  <a:gd name="T14" fmla="*/ 987444088 w 293"/>
                  <a:gd name="T15" fmla="*/ 1179724415 h 275"/>
                  <a:gd name="T16" fmla="*/ 863150395 w 293"/>
                  <a:gd name="T17" fmla="*/ 1034844452 h 275"/>
                  <a:gd name="T18" fmla="*/ 801003548 w 293"/>
                  <a:gd name="T19" fmla="*/ 1034844452 h 275"/>
                  <a:gd name="T20" fmla="*/ 676709690 w 293"/>
                  <a:gd name="T21" fmla="*/ 1055541965 h 275"/>
                  <a:gd name="T22" fmla="*/ 510983889 w 293"/>
                  <a:gd name="T23" fmla="*/ 1241814327 h 275"/>
                  <a:gd name="T24" fmla="*/ 365975456 w 293"/>
                  <a:gd name="T25" fmla="*/ 1441884484 h 275"/>
                  <a:gd name="T26" fmla="*/ 124293735 w 293"/>
                  <a:gd name="T27" fmla="*/ 1262511840 h 275"/>
                  <a:gd name="T28" fmla="*/ 0 w 293"/>
                  <a:gd name="T29" fmla="*/ 1200419301 h 275"/>
                  <a:gd name="T30" fmla="*/ 62146867 w 293"/>
                  <a:gd name="T31" fmla="*/ 1096936990 h 275"/>
                  <a:gd name="T32" fmla="*/ 138102685 w 293"/>
                  <a:gd name="T33" fmla="*/ 1014149565 h 275"/>
                  <a:gd name="T34" fmla="*/ 124293735 w 293"/>
                  <a:gd name="T35" fmla="*/ 827877203 h 275"/>
                  <a:gd name="T36" fmla="*/ 124293735 w 293"/>
                  <a:gd name="T37" fmla="*/ 827877203 h 275"/>
                  <a:gd name="T38" fmla="*/ 103578995 w 293"/>
                  <a:gd name="T39" fmla="*/ 786482177 h 275"/>
                  <a:gd name="T40" fmla="*/ 62146867 w 293"/>
                  <a:gd name="T41" fmla="*/ 724392265 h 275"/>
                  <a:gd name="T42" fmla="*/ 103578995 w 293"/>
                  <a:gd name="T43" fmla="*/ 600209651 h 275"/>
                  <a:gd name="T44" fmla="*/ 158820053 w 293"/>
                  <a:gd name="T45" fmla="*/ 703694752 h 275"/>
                  <a:gd name="T46" fmla="*/ 345260716 w 293"/>
                  <a:gd name="T47" fmla="*/ 765784664 h 275"/>
                  <a:gd name="T48" fmla="*/ 407407563 w 293"/>
                  <a:gd name="T49" fmla="*/ 703694752 h 275"/>
                  <a:gd name="T50" fmla="*/ 738856701 w 293"/>
                  <a:gd name="T51" fmla="*/ 434634801 h 275"/>
                  <a:gd name="T52" fmla="*/ 842433027 w 293"/>
                  <a:gd name="T53" fmla="*/ 289757382 h 275"/>
                  <a:gd name="T54" fmla="*/ 1070305675 w 293"/>
                  <a:gd name="T55" fmla="*/ 289757382 h 275"/>
                  <a:gd name="T56" fmla="*/ 1153167261 w 293"/>
                  <a:gd name="T57" fmla="*/ 289757382 h 275"/>
                  <a:gd name="T58" fmla="*/ 1194599368 w 293"/>
                  <a:gd name="T59" fmla="*/ 227664844 h 275"/>
                  <a:gd name="T60" fmla="*/ 1194599368 w 293"/>
                  <a:gd name="T61" fmla="*/ 62089932 h 275"/>
                  <a:gd name="T62" fmla="*/ 1215314108 w 293"/>
                  <a:gd name="T63" fmla="*/ 0 h 275"/>
                  <a:gd name="T64" fmla="*/ 1360325169 w 293"/>
                  <a:gd name="T65" fmla="*/ 103484979 h 275"/>
                  <a:gd name="T66" fmla="*/ 1484616563 w 293"/>
                  <a:gd name="T67" fmla="*/ 165574891 h 275"/>
                  <a:gd name="T68" fmla="*/ 1505333931 w 293"/>
                  <a:gd name="T69" fmla="*/ 103484979 h 275"/>
                  <a:gd name="T70" fmla="*/ 1546763410 w 293"/>
                  <a:gd name="T71" fmla="*/ 62089932 h 275"/>
                  <a:gd name="T72" fmla="*/ 1567480778 w 293"/>
                  <a:gd name="T73" fmla="*/ 82787445 h 275"/>
                  <a:gd name="T74" fmla="*/ 1588195517 w 293"/>
                  <a:gd name="T75" fmla="*/ 227664844 h 275"/>
                  <a:gd name="T76" fmla="*/ 1774636058 w 293"/>
                  <a:gd name="T77" fmla="*/ 434634801 h 275"/>
                  <a:gd name="T78" fmla="*/ 1774636058 w 293"/>
                  <a:gd name="T79" fmla="*/ 620907164 h 275"/>
                  <a:gd name="T80" fmla="*/ 1816068165 w 293"/>
                  <a:gd name="T81" fmla="*/ 682997075 h 275"/>
                  <a:gd name="T82" fmla="*/ 1940361858 w 293"/>
                  <a:gd name="T83" fmla="*/ 765784664 h 275"/>
                  <a:gd name="T84" fmla="*/ 2023223445 w 293"/>
                  <a:gd name="T85" fmla="*/ 827877203 h 275"/>
                  <a:gd name="T86" fmla="*/ 1795350797 w 293"/>
                  <a:gd name="T87" fmla="*/ 1014149565 h 275"/>
                  <a:gd name="T88" fmla="*/ 1733203951 w 293"/>
                  <a:gd name="T89" fmla="*/ 1076239477 h 275"/>
                  <a:gd name="T90" fmla="*/ 1629627624 w 293"/>
                  <a:gd name="T91" fmla="*/ 1200419301 h 275"/>
                  <a:gd name="T92" fmla="*/ 1588195517 w 293"/>
                  <a:gd name="T93" fmla="*/ 1324601752 h 275"/>
                  <a:gd name="T94" fmla="*/ 1484616563 w 293"/>
                  <a:gd name="T95" fmla="*/ 1365996778 h 275"/>
                  <a:gd name="T96" fmla="*/ 1070305675 w 293"/>
                  <a:gd name="T97" fmla="*/ 1648854359 h 275"/>
                  <a:gd name="T98" fmla="*/ 1049590935 w 293"/>
                  <a:gd name="T99" fmla="*/ 1690246759 h 275"/>
                  <a:gd name="T100" fmla="*/ 987444088 w 293"/>
                  <a:gd name="T101" fmla="*/ 1876519121 h 275"/>
                  <a:gd name="T102" fmla="*/ 821718287 w 293"/>
                  <a:gd name="T103" fmla="*/ 1897216634 h 27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93"/>
                  <a:gd name="T157" fmla="*/ 0 h 275"/>
                  <a:gd name="T158" fmla="*/ 293 w 293"/>
                  <a:gd name="T159" fmla="*/ 275 h 27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93" h="275">
                    <a:moveTo>
                      <a:pt x="119" y="275"/>
                    </a:moveTo>
                    <a:cubicBezTo>
                      <a:pt x="116" y="275"/>
                      <a:pt x="116" y="275"/>
                      <a:pt x="116" y="275"/>
                    </a:cubicBezTo>
                    <a:cubicBezTo>
                      <a:pt x="122" y="263"/>
                      <a:pt x="125" y="263"/>
                      <a:pt x="131" y="257"/>
                    </a:cubicBezTo>
                    <a:cubicBezTo>
                      <a:pt x="131" y="254"/>
                      <a:pt x="134" y="251"/>
                      <a:pt x="137" y="248"/>
                    </a:cubicBezTo>
                    <a:cubicBezTo>
                      <a:pt x="137" y="245"/>
                      <a:pt x="137" y="242"/>
                      <a:pt x="137" y="239"/>
                    </a:cubicBezTo>
                    <a:cubicBezTo>
                      <a:pt x="131" y="239"/>
                      <a:pt x="128" y="236"/>
                      <a:pt x="125" y="233"/>
                    </a:cubicBezTo>
                    <a:cubicBezTo>
                      <a:pt x="122" y="215"/>
                      <a:pt x="131" y="212"/>
                      <a:pt x="140" y="200"/>
                    </a:cubicBezTo>
                    <a:cubicBezTo>
                      <a:pt x="146" y="192"/>
                      <a:pt x="143" y="180"/>
                      <a:pt x="143" y="171"/>
                    </a:cubicBezTo>
                    <a:cubicBezTo>
                      <a:pt x="137" y="165"/>
                      <a:pt x="131" y="156"/>
                      <a:pt x="125" y="150"/>
                    </a:cubicBezTo>
                    <a:cubicBezTo>
                      <a:pt x="122" y="150"/>
                      <a:pt x="119" y="150"/>
                      <a:pt x="116" y="150"/>
                    </a:cubicBezTo>
                    <a:cubicBezTo>
                      <a:pt x="110" y="150"/>
                      <a:pt x="104" y="153"/>
                      <a:pt x="98" y="153"/>
                    </a:cubicBezTo>
                    <a:cubicBezTo>
                      <a:pt x="89" y="162"/>
                      <a:pt x="83" y="171"/>
                      <a:pt x="74" y="180"/>
                    </a:cubicBezTo>
                    <a:cubicBezTo>
                      <a:pt x="68" y="189"/>
                      <a:pt x="62" y="200"/>
                      <a:pt x="53" y="209"/>
                    </a:cubicBezTo>
                    <a:cubicBezTo>
                      <a:pt x="41" y="198"/>
                      <a:pt x="26" y="192"/>
                      <a:pt x="18" y="183"/>
                    </a:cubicBezTo>
                    <a:cubicBezTo>
                      <a:pt x="9" y="183"/>
                      <a:pt x="3" y="177"/>
                      <a:pt x="0" y="174"/>
                    </a:cubicBezTo>
                    <a:cubicBezTo>
                      <a:pt x="0" y="162"/>
                      <a:pt x="0" y="162"/>
                      <a:pt x="9" y="159"/>
                    </a:cubicBezTo>
                    <a:cubicBezTo>
                      <a:pt x="12" y="156"/>
                      <a:pt x="15" y="150"/>
                      <a:pt x="20" y="147"/>
                    </a:cubicBezTo>
                    <a:cubicBezTo>
                      <a:pt x="20" y="138"/>
                      <a:pt x="18" y="129"/>
                      <a:pt x="18" y="120"/>
                    </a:cubicBez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17"/>
                      <a:pt x="15" y="117"/>
                      <a:pt x="15" y="114"/>
                    </a:cubicBezTo>
                    <a:cubicBezTo>
                      <a:pt x="12" y="111"/>
                      <a:pt x="12" y="108"/>
                      <a:pt x="9" y="105"/>
                    </a:cubicBezTo>
                    <a:cubicBezTo>
                      <a:pt x="9" y="96"/>
                      <a:pt x="9" y="90"/>
                      <a:pt x="15" y="87"/>
                    </a:cubicBezTo>
                    <a:cubicBezTo>
                      <a:pt x="18" y="87"/>
                      <a:pt x="20" y="93"/>
                      <a:pt x="23" y="102"/>
                    </a:cubicBezTo>
                    <a:cubicBezTo>
                      <a:pt x="32" y="108"/>
                      <a:pt x="32" y="114"/>
                      <a:pt x="50" y="111"/>
                    </a:cubicBezTo>
                    <a:cubicBezTo>
                      <a:pt x="53" y="108"/>
                      <a:pt x="56" y="105"/>
                      <a:pt x="59" y="102"/>
                    </a:cubicBezTo>
                    <a:cubicBezTo>
                      <a:pt x="74" y="93"/>
                      <a:pt x="92" y="75"/>
                      <a:pt x="107" y="63"/>
                    </a:cubicBezTo>
                    <a:cubicBezTo>
                      <a:pt x="113" y="57"/>
                      <a:pt x="119" y="48"/>
                      <a:pt x="122" y="42"/>
                    </a:cubicBezTo>
                    <a:cubicBezTo>
                      <a:pt x="134" y="39"/>
                      <a:pt x="140" y="33"/>
                      <a:pt x="155" y="42"/>
                    </a:cubicBezTo>
                    <a:cubicBezTo>
                      <a:pt x="158" y="42"/>
                      <a:pt x="161" y="42"/>
                      <a:pt x="167" y="42"/>
                    </a:cubicBezTo>
                    <a:cubicBezTo>
                      <a:pt x="167" y="39"/>
                      <a:pt x="170" y="36"/>
                      <a:pt x="173" y="33"/>
                    </a:cubicBezTo>
                    <a:cubicBezTo>
                      <a:pt x="173" y="24"/>
                      <a:pt x="173" y="18"/>
                      <a:pt x="173" y="9"/>
                    </a:cubicBezTo>
                    <a:cubicBezTo>
                      <a:pt x="173" y="6"/>
                      <a:pt x="176" y="3"/>
                      <a:pt x="176" y="0"/>
                    </a:cubicBezTo>
                    <a:cubicBezTo>
                      <a:pt x="182" y="0"/>
                      <a:pt x="191" y="6"/>
                      <a:pt x="197" y="15"/>
                    </a:cubicBezTo>
                    <a:cubicBezTo>
                      <a:pt x="203" y="21"/>
                      <a:pt x="203" y="24"/>
                      <a:pt x="215" y="24"/>
                    </a:cubicBezTo>
                    <a:cubicBezTo>
                      <a:pt x="218" y="21"/>
                      <a:pt x="218" y="15"/>
                      <a:pt x="218" y="15"/>
                    </a:cubicBezTo>
                    <a:cubicBezTo>
                      <a:pt x="221" y="12"/>
                      <a:pt x="221" y="9"/>
                      <a:pt x="224" y="9"/>
                    </a:cubicBezTo>
                    <a:cubicBezTo>
                      <a:pt x="227" y="12"/>
                      <a:pt x="227" y="12"/>
                      <a:pt x="227" y="12"/>
                    </a:cubicBezTo>
                    <a:cubicBezTo>
                      <a:pt x="227" y="18"/>
                      <a:pt x="230" y="24"/>
                      <a:pt x="230" y="33"/>
                    </a:cubicBezTo>
                    <a:cubicBezTo>
                      <a:pt x="236" y="39"/>
                      <a:pt x="245" y="51"/>
                      <a:pt x="257" y="63"/>
                    </a:cubicBezTo>
                    <a:cubicBezTo>
                      <a:pt x="257" y="72"/>
                      <a:pt x="257" y="81"/>
                      <a:pt x="257" y="90"/>
                    </a:cubicBezTo>
                    <a:cubicBezTo>
                      <a:pt x="260" y="93"/>
                      <a:pt x="263" y="96"/>
                      <a:pt x="263" y="99"/>
                    </a:cubicBezTo>
                    <a:cubicBezTo>
                      <a:pt x="269" y="102"/>
                      <a:pt x="275" y="105"/>
                      <a:pt x="281" y="111"/>
                    </a:cubicBezTo>
                    <a:cubicBezTo>
                      <a:pt x="284" y="114"/>
                      <a:pt x="290" y="117"/>
                      <a:pt x="293" y="120"/>
                    </a:cubicBezTo>
                    <a:cubicBezTo>
                      <a:pt x="293" y="123"/>
                      <a:pt x="263" y="144"/>
                      <a:pt x="260" y="147"/>
                    </a:cubicBezTo>
                    <a:cubicBezTo>
                      <a:pt x="257" y="150"/>
                      <a:pt x="254" y="153"/>
                      <a:pt x="251" y="156"/>
                    </a:cubicBezTo>
                    <a:cubicBezTo>
                      <a:pt x="245" y="162"/>
                      <a:pt x="239" y="168"/>
                      <a:pt x="236" y="174"/>
                    </a:cubicBezTo>
                    <a:cubicBezTo>
                      <a:pt x="233" y="180"/>
                      <a:pt x="233" y="186"/>
                      <a:pt x="230" y="192"/>
                    </a:cubicBezTo>
                    <a:cubicBezTo>
                      <a:pt x="224" y="195"/>
                      <a:pt x="221" y="198"/>
                      <a:pt x="215" y="198"/>
                    </a:cubicBezTo>
                    <a:cubicBezTo>
                      <a:pt x="188" y="203"/>
                      <a:pt x="170" y="215"/>
                      <a:pt x="155" y="239"/>
                    </a:cubicBezTo>
                    <a:cubicBezTo>
                      <a:pt x="152" y="239"/>
                      <a:pt x="152" y="242"/>
                      <a:pt x="152" y="245"/>
                    </a:cubicBezTo>
                    <a:cubicBezTo>
                      <a:pt x="149" y="254"/>
                      <a:pt x="146" y="263"/>
                      <a:pt x="143" y="272"/>
                    </a:cubicBezTo>
                    <a:cubicBezTo>
                      <a:pt x="134" y="275"/>
                      <a:pt x="125" y="275"/>
                      <a:pt x="119" y="27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11" name="Freeform 13"/>
              <p:cNvSpPr>
                <a:spLocks/>
              </p:cNvSpPr>
              <p:nvPr/>
            </p:nvSpPr>
            <p:spPr bwMode="auto">
              <a:xfrm>
                <a:off x="7299031" y="975922"/>
                <a:ext cx="1326647" cy="1084021"/>
              </a:xfrm>
              <a:custGeom>
                <a:avLst/>
                <a:gdLst>
                  <a:gd name="T0" fmla="*/ 2147483647 w 556"/>
                  <a:gd name="T1" fmla="*/ 2147483647 h 501"/>
                  <a:gd name="T2" fmla="*/ 2147483647 w 556"/>
                  <a:gd name="T3" fmla="*/ 2147483647 h 501"/>
                  <a:gd name="T4" fmla="*/ 2147483647 w 556"/>
                  <a:gd name="T5" fmla="*/ 2147483647 h 501"/>
                  <a:gd name="T6" fmla="*/ 1959620418 w 556"/>
                  <a:gd name="T7" fmla="*/ 2147483647 h 501"/>
                  <a:gd name="T8" fmla="*/ 1835417556 w 556"/>
                  <a:gd name="T9" fmla="*/ 2147483647 h 501"/>
                  <a:gd name="T10" fmla="*/ 1669816367 w 556"/>
                  <a:gd name="T11" fmla="*/ 2147483647 h 501"/>
                  <a:gd name="T12" fmla="*/ 1380014943 w 556"/>
                  <a:gd name="T13" fmla="*/ 2147483647 h 501"/>
                  <a:gd name="T14" fmla="*/ 1048809610 w 556"/>
                  <a:gd name="T15" fmla="*/ 2147483647 h 501"/>
                  <a:gd name="T16" fmla="*/ 986709492 w 556"/>
                  <a:gd name="T17" fmla="*/ 2147483647 h 501"/>
                  <a:gd name="T18" fmla="*/ 1090210564 w 556"/>
                  <a:gd name="T19" fmla="*/ 2147483647 h 501"/>
                  <a:gd name="T20" fmla="*/ 945308538 w 556"/>
                  <a:gd name="T21" fmla="*/ 2147483647 h 501"/>
                  <a:gd name="T22" fmla="*/ 759008186 w 556"/>
                  <a:gd name="T23" fmla="*/ 2147483647 h 501"/>
                  <a:gd name="T24" fmla="*/ 883208421 w 556"/>
                  <a:gd name="T25" fmla="*/ 2132158701 h 501"/>
                  <a:gd name="T26" fmla="*/ 1028110446 w 556"/>
                  <a:gd name="T27" fmla="*/ 1800948256 h 501"/>
                  <a:gd name="T28" fmla="*/ 1131611518 w 556"/>
                  <a:gd name="T29" fmla="*/ 1987252818 h 501"/>
                  <a:gd name="T30" fmla="*/ 1255811753 w 556"/>
                  <a:gd name="T31" fmla="*/ 1718145645 h 501"/>
                  <a:gd name="T32" fmla="*/ 1152310681 w 556"/>
                  <a:gd name="T33" fmla="*/ 1304134888 h 501"/>
                  <a:gd name="T34" fmla="*/ 1193711635 w 556"/>
                  <a:gd name="T35" fmla="*/ 1117830326 h 501"/>
                  <a:gd name="T36" fmla="*/ 1069511400 w 556"/>
                  <a:gd name="T37" fmla="*/ 558913849 h 501"/>
                  <a:gd name="T38" fmla="*/ 738306395 w 556"/>
                  <a:gd name="T39" fmla="*/ 745221202 h 501"/>
                  <a:gd name="T40" fmla="*/ 427803017 w 556"/>
                  <a:gd name="T41" fmla="*/ 641716461 h 501"/>
                  <a:gd name="T42" fmla="*/ 144902066 w 556"/>
                  <a:gd name="T43" fmla="*/ 558913849 h 501"/>
                  <a:gd name="T44" fmla="*/ 0 w 556"/>
                  <a:gd name="T45" fmla="*/ 414010593 h 501"/>
                  <a:gd name="T46" fmla="*/ 82801928 w 556"/>
                  <a:gd name="T47" fmla="*/ 227705949 h 501"/>
                  <a:gd name="T48" fmla="*/ 248403179 w 556"/>
                  <a:gd name="T49" fmla="*/ 62100666 h 501"/>
                  <a:gd name="T50" fmla="*/ 696908068 w 556"/>
                  <a:gd name="T51" fmla="*/ 82802632 h 501"/>
                  <a:gd name="T52" fmla="*/ 1276513543 w 556"/>
                  <a:gd name="T53" fmla="*/ 496813204 h 501"/>
                  <a:gd name="T54" fmla="*/ 1483516014 w 556"/>
                  <a:gd name="T55" fmla="*/ 786622508 h 501"/>
                  <a:gd name="T56" fmla="*/ 1690518157 w 556"/>
                  <a:gd name="T57" fmla="*/ 1076429020 h 501"/>
                  <a:gd name="T58" fmla="*/ 1731916484 w 556"/>
                  <a:gd name="T59" fmla="*/ 1242034243 h 501"/>
                  <a:gd name="T60" fmla="*/ 2104522443 w 556"/>
                  <a:gd name="T61" fmla="*/ 1283435548 h 501"/>
                  <a:gd name="T62" fmla="*/ 2147483647 w 556"/>
                  <a:gd name="T63" fmla="*/ 1262733582 h 501"/>
                  <a:gd name="T64" fmla="*/ 2147483647 w 556"/>
                  <a:gd name="T65" fmla="*/ 1428339133 h 501"/>
                  <a:gd name="T66" fmla="*/ 2147483647 w 556"/>
                  <a:gd name="T67" fmla="*/ 1759546951 h 501"/>
                  <a:gd name="T68" fmla="*/ 2147483647 w 556"/>
                  <a:gd name="T69" fmla="*/ 1656045000 h 501"/>
                  <a:gd name="T70" fmla="*/ 2147483647 w 556"/>
                  <a:gd name="T71" fmla="*/ 1324836854 h 501"/>
                  <a:gd name="T72" fmla="*/ 2147483647 w 556"/>
                  <a:gd name="T73" fmla="*/ 1283435548 h 501"/>
                  <a:gd name="T74" fmla="*/ 2147483647 w 556"/>
                  <a:gd name="T75" fmla="*/ 1593944355 h 501"/>
                  <a:gd name="T76" fmla="*/ 2147483647 w 556"/>
                  <a:gd name="T77" fmla="*/ 1821650222 h 501"/>
                  <a:gd name="T78" fmla="*/ 2147483647 w 556"/>
                  <a:gd name="T79" fmla="*/ 2147483647 h 501"/>
                  <a:gd name="T80" fmla="*/ 2147483647 w 556"/>
                  <a:gd name="T81" fmla="*/ 2147483647 h 501"/>
                  <a:gd name="T82" fmla="*/ 2147483647 w 556"/>
                  <a:gd name="T83" fmla="*/ 2147483647 h 501"/>
                  <a:gd name="T84" fmla="*/ 2147483647 w 556"/>
                  <a:gd name="T85" fmla="*/ 2147483647 h 501"/>
                  <a:gd name="T86" fmla="*/ 2147483647 w 556"/>
                  <a:gd name="T87" fmla="*/ 2147483647 h 501"/>
                  <a:gd name="T88" fmla="*/ 2147483647 w 556"/>
                  <a:gd name="T89" fmla="*/ 2147483647 h 501"/>
                  <a:gd name="T90" fmla="*/ 2147483647 w 556"/>
                  <a:gd name="T91" fmla="*/ 2147483647 h 501"/>
                  <a:gd name="T92" fmla="*/ 2147483647 w 556"/>
                  <a:gd name="T93" fmla="*/ 2147483647 h 501"/>
                  <a:gd name="T94" fmla="*/ 2147483647 w 556"/>
                  <a:gd name="T95" fmla="*/ 2147483647 h 501"/>
                  <a:gd name="T96" fmla="*/ 2147483647 w 556"/>
                  <a:gd name="T97" fmla="*/ 2147483647 h 50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56"/>
                  <a:gd name="T148" fmla="*/ 0 h 501"/>
                  <a:gd name="T149" fmla="*/ 556 w 556"/>
                  <a:gd name="T150" fmla="*/ 501 h 50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56" h="501">
                    <a:moveTo>
                      <a:pt x="403" y="501"/>
                    </a:moveTo>
                    <a:cubicBezTo>
                      <a:pt x="397" y="495"/>
                      <a:pt x="391" y="489"/>
                      <a:pt x="382" y="480"/>
                    </a:cubicBezTo>
                    <a:cubicBezTo>
                      <a:pt x="376" y="465"/>
                      <a:pt x="370" y="456"/>
                      <a:pt x="355" y="459"/>
                    </a:cubicBezTo>
                    <a:cubicBezTo>
                      <a:pt x="352" y="465"/>
                      <a:pt x="349" y="471"/>
                      <a:pt x="346" y="480"/>
                    </a:cubicBezTo>
                    <a:cubicBezTo>
                      <a:pt x="337" y="480"/>
                      <a:pt x="329" y="459"/>
                      <a:pt x="329" y="456"/>
                    </a:cubicBezTo>
                    <a:cubicBezTo>
                      <a:pt x="326" y="456"/>
                      <a:pt x="323" y="453"/>
                      <a:pt x="323" y="450"/>
                    </a:cubicBezTo>
                    <a:cubicBezTo>
                      <a:pt x="320" y="450"/>
                      <a:pt x="317" y="450"/>
                      <a:pt x="311" y="447"/>
                    </a:cubicBezTo>
                    <a:cubicBezTo>
                      <a:pt x="302" y="432"/>
                      <a:pt x="296" y="432"/>
                      <a:pt x="284" y="432"/>
                    </a:cubicBezTo>
                    <a:cubicBezTo>
                      <a:pt x="284" y="432"/>
                      <a:pt x="284" y="435"/>
                      <a:pt x="281" y="435"/>
                    </a:cubicBezTo>
                    <a:cubicBezTo>
                      <a:pt x="260" y="447"/>
                      <a:pt x="266" y="426"/>
                      <a:pt x="266" y="414"/>
                    </a:cubicBezTo>
                    <a:cubicBezTo>
                      <a:pt x="260" y="408"/>
                      <a:pt x="257" y="408"/>
                      <a:pt x="251" y="408"/>
                    </a:cubicBezTo>
                    <a:cubicBezTo>
                      <a:pt x="248" y="411"/>
                      <a:pt x="245" y="417"/>
                      <a:pt x="242" y="420"/>
                    </a:cubicBezTo>
                    <a:cubicBezTo>
                      <a:pt x="239" y="420"/>
                      <a:pt x="239" y="420"/>
                      <a:pt x="236" y="423"/>
                    </a:cubicBezTo>
                    <a:cubicBezTo>
                      <a:pt x="230" y="432"/>
                      <a:pt x="209" y="435"/>
                      <a:pt x="200" y="438"/>
                    </a:cubicBezTo>
                    <a:cubicBezTo>
                      <a:pt x="182" y="429"/>
                      <a:pt x="176" y="423"/>
                      <a:pt x="173" y="408"/>
                    </a:cubicBezTo>
                    <a:cubicBezTo>
                      <a:pt x="161" y="393"/>
                      <a:pt x="164" y="399"/>
                      <a:pt x="152" y="396"/>
                    </a:cubicBezTo>
                    <a:cubicBezTo>
                      <a:pt x="149" y="396"/>
                      <a:pt x="149" y="396"/>
                      <a:pt x="149" y="399"/>
                    </a:cubicBezTo>
                    <a:cubicBezTo>
                      <a:pt x="143" y="396"/>
                      <a:pt x="143" y="390"/>
                      <a:pt x="143" y="387"/>
                    </a:cubicBezTo>
                    <a:cubicBezTo>
                      <a:pt x="146" y="384"/>
                      <a:pt x="152" y="387"/>
                      <a:pt x="161" y="381"/>
                    </a:cubicBezTo>
                    <a:cubicBezTo>
                      <a:pt x="161" y="372"/>
                      <a:pt x="158" y="366"/>
                      <a:pt x="158" y="363"/>
                    </a:cubicBezTo>
                    <a:cubicBezTo>
                      <a:pt x="155" y="360"/>
                      <a:pt x="155" y="357"/>
                      <a:pt x="152" y="357"/>
                    </a:cubicBezTo>
                    <a:cubicBezTo>
                      <a:pt x="140" y="357"/>
                      <a:pt x="143" y="357"/>
                      <a:pt x="137" y="369"/>
                    </a:cubicBezTo>
                    <a:cubicBezTo>
                      <a:pt x="128" y="369"/>
                      <a:pt x="122" y="360"/>
                      <a:pt x="116" y="357"/>
                    </a:cubicBezTo>
                    <a:cubicBezTo>
                      <a:pt x="113" y="351"/>
                      <a:pt x="113" y="351"/>
                      <a:pt x="110" y="345"/>
                    </a:cubicBezTo>
                    <a:cubicBezTo>
                      <a:pt x="107" y="342"/>
                      <a:pt x="107" y="336"/>
                      <a:pt x="107" y="333"/>
                    </a:cubicBezTo>
                    <a:cubicBezTo>
                      <a:pt x="119" y="327"/>
                      <a:pt x="122" y="318"/>
                      <a:pt x="128" y="309"/>
                    </a:cubicBezTo>
                    <a:cubicBezTo>
                      <a:pt x="131" y="291"/>
                      <a:pt x="143" y="285"/>
                      <a:pt x="149" y="270"/>
                    </a:cubicBezTo>
                    <a:cubicBezTo>
                      <a:pt x="149" y="267"/>
                      <a:pt x="149" y="264"/>
                      <a:pt x="149" y="261"/>
                    </a:cubicBezTo>
                    <a:cubicBezTo>
                      <a:pt x="155" y="261"/>
                      <a:pt x="155" y="264"/>
                      <a:pt x="155" y="267"/>
                    </a:cubicBezTo>
                    <a:cubicBezTo>
                      <a:pt x="155" y="273"/>
                      <a:pt x="152" y="282"/>
                      <a:pt x="164" y="288"/>
                    </a:cubicBezTo>
                    <a:cubicBezTo>
                      <a:pt x="167" y="288"/>
                      <a:pt x="176" y="291"/>
                      <a:pt x="182" y="285"/>
                    </a:cubicBezTo>
                    <a:cubicBezTo>
                      <a:pt x="182" y="273"/>
                      <a:pt x="182" y="255"/>
                      <a:pt x="182" y="249"/>
                    </a:cubicBezTo>
                    <a:cubicBezTo>
                      <a:pt x="167" y="234"/>
                      <a:pt x="173" y="228"/>
                      <a:pt x="179" y="216"/>
                    </a:cubicBezTo>
                    <a:cubicBezTo>
                      <a:pt x="179" y="204"/>
                      <a:pt x="173" y="189"/>
                      <a:pt x="167" y="189"/>
                    </a:cubicBezTo>
                    <a:cubicBezTo>
                      <a:pt x="167" y="186"/>
                      <a:pt x="167" y="180"/>
                      <a:pt x="167" y="177"/>
                    </a:cubicBezTo>
                    <a:cubicBezTo>
                      <a:pt x="170" y="171"/>
                      <a:pt x="170" y="168"/>
                      <a:pt x="173" y="162"/>
                    </a:cubicBezTo>
                    <a:cubicBezTo>
                      <a:pt x="173" y="153"/>
                      <a:pt x="176" y="147"/>
                      <a:pt x="179" y="138"/>
                    </a:cubicBezTo>
                    <a:cubicBezTo>
                      <a:pt x="179" y="117"/>
                      <a:pt x="170" y="87"/>
                      <a:pt x="155" y="81"/>
                    </a:cubicBezTo>
                    <a:cubicBezTo>
                      <a:pt x="143" y="81"/>
                      <a:pt x="137" y="81"/>
                      <a:pt x="128" y="87"/>
                    </a:cubicBezTo>
                    <a:cubicBezTo>
                      <a:pt x="122" y="102"/>
                      <a:pt x="122" y="105"/>
                      <a:pt x="107" y="108"/>
                    </a:cubicBezTo>
                    <a:cubicBezTo>
                      <a:pt x="92" y="108"/>
                      <a:pt x="83" y="111"/>
                      <a:pt x="74" y="114"/>
                    </a:cubicBezTo>
                    <a:cubicBezTo>
                      <a:pt x="62" y="108"/>
                      <a:pt x="65" y="99"/>
                      <a:pt x="62" y="93"/>
                    </a:cubicBezTo>
                    <a:cubicBezTo>
                      <a:pt x="59" y="78"/>
                      <a:pt x="56" y="72"/>
                      <a:pt x="50" y="66"/>
                    </a:cubicBezTo>
                    <a:cubicBezTo>
                      <a:pt x="24" y="54"/>
                      <a:pt x="21" y="57"/>
                      <a:pt x="21" y="81"/>
                    </a:cubicBezTo>
                    <a:cubicBezTo>
                      <a:pt x="12" y="75"/>
                      <a:pt x="6" y="69"/>
                      <a:pt x="0" y="63"/>
                    </a:cubicBezTo>
                    <a:cubicBezTo>
                      <a:pt x="0" y="63"/>
                      <a:pt x="0" y="63"/>
                      <a:pt x="0" y="60"/>
                    </a:cubicBezTo>
                    <a:cubicBezTo>
                      <a:pt x="3" y="57"/>
                      <a:pt x="6" y="54"/>
                      <a:pt x="9" y="51"/>
                    </a:cubicBezTo>
                    <a:cubicBezTo>
                      <a:pt x="9" y="45"/>
                      <a:pt x="9" y="36"/>
                      <a:pt x="12" y="33"/>
                    </a:cubicBezTo>
                    <a:cubicBezTo>
                      <a:pt x="9" y="30"/>
                      <a:pt x="6" y="27"/>
                      <a:pt x="3" y="24"/>
                    </a:cubicBezTo>
                    <a:cubicBezTo>
                      <a:pt x="15" y="18"/>
                      <a:pt x="24" y="12"/>
                      <a:pt x="36" y="9"/>
                    </a:cubicBezTo>
                    <a:cubicBezTo>
                      <a:pt x="47" y="3"/>
                      <a:pt x="53" y="0"/>
                      <a:pt x="71" y="3"/>
                    </a:cubicBezTo>
                    <a:cubicBezTo>
                      <a:pt x="77" y="9"/>
                      <a:pt x="86" y="12"/>
                      <a:pt x="101" y="12"/>
                    </a:cubicBezTo>
                    <a:cubicBezTo>
                      <a:pt x="116" y="9"/>
                      <a:pt x="122" y="9"/>
                      <a:pt x="140" y="15"/>
                    </a:cubicBezTo>
                    <a:cubicBezTo>
                      <a:pt x="152" y="30"/>
                      <a:pt x="167" y="51"/>
                      <a:pt x="185" y="72"/>
                    </a:cubicBezTo>
                    <a:cubicBezTo>
                      <a:pt x="188" y="78"/>
                      <a:pt x="191" y="87"/>
                      <a:pt x="194" y="96"/>
                    </a:cubicBezTo>
                    <a:cubicBezTo>
                      <a:pt x="203" y="102"/>
                      <a:pt x="209" y="108"/>
                      <a:pt x="215" y="114"/>
                    </a:cubicBezTo>
                    <a:cubicBezTo>
                      <a:pt x="224" y="123"/>
                      <a:pt x="227" y="126"/>
                      <a:pt x="227" y="141"/>
                    </a:cubicBezTo>
                    <a:cubicBezTo>
                      <a:pt x="230" y="144"/>
                      <a:pt x="236" y="150"/>
                      <a:pt x="245" y="156"/>
                    </a:cubicBezTo>
                    <a:cubicBezTo>
                      <a:pt x="245" y="156"/>
                      <a:pt x="245" y="159"/>
                      <a:pt x="248" y="159"/>
                    </a:cubicBezTo>
                    <a:cubicBezTo>
                      <a:pt x="248" y="165"/>
                      <a:pt x="248" y="168"/>
                      <a:pt x="251" y="180"/>
                    </a:cubicBezTo>
                    <a:cubicBezTo>
                      <a:pt x="254" y="183"/>
                      <a:pt x="272" y="183"/>
                      <a:pt x="284" y="180"/>
                    </a:cubicBezTo>
                    <a:cubicBezTo>
                      <a:pt x="290" y="180"/>
                      <a:pt x="293" y="177"/>
                      <a:pt x="305" y="186"/>
                    </a:cubicBezTo>
                    <a:cubicBezTo>
                      <a:pt x="308" y="186"/>
                      <a:pt x="314" y="186"/>
                      <a:pt x="317" y="186"/>
                    </a:cubicBezTo>
                    <a:cubicBezTo>
                      <a:pt x="320" y="183"/>
                      <a:pt x="320" y="183"/>
                      <a:pt x="329" y="183"/>
                    </a:cubicBezTo>
                    <a:cubicBezTo>
                      <a:pt x="337" y="189"/>
                      <a:pt x="343" y="195"/>
                      <a:pt x="349" y="201"/>
                    </a:cubicBezTo>
                    <a:cubicBezTo>
                      <a:pt x="355" y="201"/>
                      <a:pt x="367" y="198"/>
                      <a:pt x="373" y="207"/>
                    </a:cubicBezTo>
                    <a:cubicBezTo>
                      <a:pt x="376" y="213"/>
                      <a:pt x="379" y="219"/>
                      <a:pt x="382" y="225"/>
                    </a:cubicBezTo>
                    <a:cubicBezTo>
                      <a:pt x="385" y="237"/>
                      <a:pt x="397" y="270"/>
                      <a:pt x="421" y="255"/>
                    </a:cubicBezTo>
                    <a:cubicBezTo>
                      <a:pt x="430" y="255"/>
                      <a:pt x="442" y="249"/>
                      <a:pt x="454" y="246"/>
                    </a:cubicBezTo>
                    <a:cubicBezTo>
                      <a:pt x="457" y="243"/>
                      <a:pt x="457" y="243"/>
                      <a:pt x="460" y="240"/>
                    </a:cubicBezTo>
                    <a:cubicBezTo>
                      <a:pt x="472" y="222"/>
                      <a:pt x="478" y="216"/>
                      <a:pt x="493" y="204"/>
                    </a:cubicBezTo>
                    <a:cubicBezTo>
                      <a:pt x="496" y="201"/>
                      <a:pt x="502" y="195"/>
                      <a:pt x="505" y="192"/>
                    </a:cubicBezTo>
                    <a:cubicBezTo>
                      <a:pt x="514" y="183"/>
                      <a:pt x="520" y="177"/>
                      <a:pt x="529" y="171"/>
                    </a:cubicBezTo>
                    <a:cubicBezTo>
                      <a:pt x="541" y="171"/>
                      <a:pt x="544" y="171"/>
                      <a:pt x="538" y="186"/>
                    </a:cubicBezTo>
                    <a:cubicBezTo>
                      <a:pt x="538" y="195"/>
                      <a:pt x="538" y="201"/>
                      <a:pt x="538" y="210"/>
                    </a:cubicBezTo>
                    <a:cubicBezTo>
                      <a:pt x="544" y="213"/>
                      <a:pt x="553" y="219"/>
                      <a:pt x="556" y="231"/>
                    </a:cubicBezTo>
                    <a:cubicBezTo>
                      <a:pt x="553" y="237"/>
                      <a:pt x="553" y="243"/>
                      <a:pt x="553" y="252"/>
                    </a:cubicBezTo>
                    <a:cubicBezTo>
                      <a:pt x="550" y="255"/>
                      <a:pt x="550" y="261"/>
                      <a:pt x="547" y="264"/>
                    </a:cubicBezTo>
                    <a:cubicBezTo>
                      <a:pt x="541" y="270"/>
                      <a:pt x="544" y="282"/>
                      <a:pt x="547" y="294"/>
                    </a:cubicBezTo>
                    <a:cubicBezTo>
                      <a:pt x="544" y="306"/>
                      <a:pt x="544" y="315"/>
                      <a:pt x="544" y="327"/>
                    </a:cubicBezTo>
                    <a:cubicBezTo>
                      <a:pt x="544" y="333"/>
                      <a:pt x="541" y="342"/>
                      <a:pt x="541" y="348"/>
                    </a:cubicBezTo>
                    <a:cubicBezTo>
                      <a:pt x="541" y="354"/>
                      <a:pt x="541" y="363"/>
                      <a:pt x="541" y="369"/>
                    </a:cubicBezTo>
                    <a:cubicBezTo>
                      <a:pt x="538" y="372"/>
                      <a:pt x="535" y="375"/>
                      <a:pt x="532" y="378"/>
                    </a:cubicBezTo>
                    <a:cubicBezTo>
                      <a:pt x="526" y="378"/>
                      <a:pt x="523" y="378"/>
                      <a:pt x="520" y="378"/>
                    </a:cubicBezTo>
                    <a:cubicBezTo>
                      <a:pt x="505" y="375"/>
                      <a:pt x="502" y="375"/>
                      <a:pt x="493" y="375"/>
                    </a:cubicBezTo>
                    <a:cubicBezTo>
                      <a:pt x="487" y="378"/>
                      <a:pt x="487" y="384"/>
                      <a:pt x="484" y="387"/>
                    </a:cubicBezTo>
                    <a:cubicBezTo>
                      <a:pt x="469" y="393"/>
                      <a:pt x="466" y="396"/>
                      <a:pt x="469" y="411"/>
                    </a:cubicBezTo>
                    <a:cubicBezTo>
                      <a:pt x="472" y="417"/>
                      <a:pt x="475" y="420"/>
                      <a:pt x="478" y="426"/>
                    </a:cubicBezTo>
                    <a:cubicBezTo>
                      <a:pt x="478" y="438"/>
                      <a:pt x="487" y="453"/>
                      <a:pt x="496" y="471"/>
                    </a:cubicBezTo>
                    <a:cubicBezTo>
                      <a:pt x="496" y="477"/>
                      <a:pt x="499" y="483"/>
                      <a:pt x="499" y="492"/>
                    </a:cubicBezTo>
                    <a:cubicBezTo>
                      <a:pt x="481" y="492"/>
                      <a:pt x="472" y="477"/>
                      <a:pt x="466" y="474"/>
                    </a:cubicBezTo>
                    <a:cubicBezTo>
                      <a:pt x="466" y="462"/>
                      <a:pt x="454" y="459"/>
                      <a:pt x="451" y="462"/>
                    </a:cubicBezTo>
                    <a:cubicBezTo>
                      <a:pt x="451" y="465"/>
                      <a:pt x="451" y="465"/>
                      <a:pt x="451" y="468"/>
                    </a:cubicBezTo>
                    <a:cubicBezTo>
                      <a:pt x="439" y="468"/>
                      <a:pt x="430" y="474"/>
                      <a:pt x="421" y="480"/>
                    </a:cubicBezTo>
                    <a:cubicBezTo>
                      <a:pt x="421" y="483"/>
                      <a:pt x="421" y="486"/>
                      <a:pt x="421" y="489"/>
                    </a:cubicBezTo>
                    <a:cubicBezTo>
                      <a:pt x="421" y="489"/>
                      <a:pt x="421" y="489"/>
                      <a:pt x="424" y="489"/>
                    </a:cubicBezTo>
                    <a:cubicBezTo>
                      <a:pt x="418" y="492"/>
                      <a:pt x="415" y="495"/>
                      <a:pt x="412" y="498"/>
                    </a:cubicBezTo>
                    <a:cubicBezTo>
                      <a:pt x="409" y="498"/>
                      <a:pt x="406" y="501"/>
                      <a:pt x="403" y="50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12" name="Freeform 14"/>
              <p:cNvSpPr>
                <a:spLocks/>
              </p:cNvSpPr>
              <p:nvPr/>
            </p:nvSpPr>
            <p:spPr bwMode="auto">
              <a:xfrm>
                <a:off x="7490816" y="1832417"/>
                <a:ext cx="1013731" cy="591047"/>
              </a:xfrm>
              <a:custGeom>
                <a:avLst/>
                <a:gdLst>
                  <a:gd name="T0" fmla="*/ 1448035001 w 425"/>
                  <a:gd name="T1" fmla="*/ 1740923368 h 273"/>
                  <a:gd name="T2" fmla="*/ 1406663792 w 425"/>
                  <a:gd name="T3" fmla="*/ 1512944956 h 273"/>
                  <a:gd name="T4" fmla="*/ 1241173374 w 425"/>
                  <a:gd name="T5" fmla="*/ 1305691048 h 273"/>
                  <a:gd name="T6" fmla="*/ 1220486456 w 425"/>
                  <a:gd name="T7" fmla="*/ 1160614593 h 273"/>
                  <a:gd name="T8" fmla="*/ 1075683284 w 425"/>
                  <a:gd name="T9" fmla="*/ 1243516551 h 273"/>
                  <a:gd name="T10" fmla="*/ 889508903 w 425"/>
                  <a:gd name="T11" fmla="*/ 1077715264 h 273"/>
                  <a:gd name="T12" fmla="*/ 579215478 w 425"/>
                  <a:gd name="T13" fmla="*/ 683932772 h 273"/>
                  <a:gd name="T14" fmla="*/ 537841642 w 425"/>
                  <a:gd name="T15" fmla="*/ 642483108 h 273"/>
                  <a:gd name="T16" fmla="*/ 372351553 w 425"/>
                  <a:gd name="T17" fmla="*/ 829012020 h 273"/>
                  <a:gd name="T18" fmla="*/ 248235216 w 425"/>
                  <a:gd name="T19" fmla="*/ 559581150 h 273"/>
                  <a:gd name="T20" fmla="*/ 82745065 w 425"/>
                  <a:gd name="T21" fmla="*/ 269428159 h 273"/>
                  <a:gd name="T22" fmla="*/ 82745065 w 425"/>
                  <a:gd name="T23" fmla="*/ 145076496 h 273"/>
                  <a:gd name="T24" fmla="*/ 434409680 w 425"/>
                  <a:gd name="T25" fmla="*/ 124351663 h 273"/>
                  <a:gd name="T26" fmla="*/ 848135068 w 425"/>
                  <a:gd name="T27" fmla="*/ 331605284 h 273"/>
                  <a:gd name="T28" fmla="*/ 1220486456 w 425"/>
                  <a:gd name="T29" fmla="*/ 124351663 h 273"/>
                  <a:gd name="T30" fmla="*/ 1344605336 w 425"/>
                  <a:gd name="T31" fmla="*/ 331605284 h 273"/>
                  <a:gd name="T32" fmla="*/ 1572153881 w 425"/>
                  <a:gd name="T33" fmla="*/ 393779863 h 273"/>
                  <a:gd name="T34" fmla="*/ 1813493376 w 425"/>
                  <a:gd name="T35" fmla="*/ 621758275 h 273"/>
                  <a:gd name="T36" fmla="*/ 1916922713 w 425"/>
                  <a:gd name="T37" fmla="*/ 455956989 h 273"/>
                  <a:gd name="T38" fmla="*/ 2123786638 w 425"/>
                  <a:gd name="T39" fmla="*/ 663207940 h 273"/>
                  <a:gd name="T40" fmla="*/ 2147483647 w 425"/>
                  <a:gd name="T41" fmla="*/ 746110062 h 273"/>
                  <a:gd name="T42" fmla="*/ 2147483647 w 425"/>
                  <a:gd name="T43" fmla="*/ 683932772 h 273"/>
                  <a:gd name="T44" fmla="*/ 2147483647 w 425"/>
                  <a:gd name="T45" fmla="*/ 621758275 h 273"/>
                  <a:gd name="T46" fmla="*/ 2147483647 w 425"/>
                  <a:gd name="T47" fmla="*/ 538856318 h 273"/>
                  <a:gd name="T48" fmla="*/ 2147483647 w 425"/>
                  <a:gd name="T49" fmla="*/ 497406653 h 273"/>
                  <a:gd name="T50" fmla="*/ 2147483647 w 425"/>
                  <a:gd name="T51" fmla="*/ 683932772 h 273"/>
                  <a:gd name="T52" fmla="*/ 2147483647 w 425"/>
                  <a:gd name="T53" fmla="*/ 891186517 h 273"/>
                  <a:gd name="T54" fmla="*/ 2147483647 w 425"/>
                  <a:gd name="T55" fmla="*/ 1098440096 h 273"/>
                  <a:gd name="T56" fmla="*/ 2147483647 w 425"/>
                  <a:gd name="T57" fmla="*/ 1077715264 h 273"/>
                  <a:gd name="T58" fmla="*/ 2147483647 w 425"/>
                  <a:gd name="T59" fmla="*/ 932636181 h 273"/>
                  <a:gd name="T60" fmla="*/ 2147483647 w 425"/>
                  <a:gd name="T61" fmla="*/ 1202066886 h 273"/>
                  <a:gd name="T62" fmla="*/ 2147483647 w 425"/>
                  <a:gd name="T63" fmla="*/ 1450767831 h 273"/>
                  <a:gd name="T64" fmla="*/ 2147483647 w 425"/>
                  <a:gd name="T65" fmla="*/ 1595846914 h 273"/>
                  <a:gd name="T66" fmla="*/ 1772119541 w 425"/>
                  <a:gd name="T67" fmla="*/ 1616571746 h 273"/>
                  <a:gd name="T68" fmla="*/ 1675583218 w 425"/>
                  <a:gd name="T69" fmla="*/ 1865274991 h 27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425"/>
                  <a:gd name="T106" fmla="*/ 0 h 273"/>
                  <a:gd name="T107" fmla="*/ 425 w 425"/>
                  <a:gd name="T108" fmla="*/ 273 h 273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425" h="273">
                    <a:moveTo>
                      <a:pt x="237" y="273"/>
                    </a:moveTo>
                    <a:cubicBezTo>
                      <a:pt x="231" y="264"/>
                      <a:pt x="216" y="255"/>
                      <a:pt x="210" y="252"/>
                    </a:cubicBezTo>
                    <a:cubicBezTo>
                      <a:pt x="210" y="249"/>
                      <a:pt x="207" y="249"/>
                      <a:pt x="207" y="246"/>
                    </a:cubicBezTo>
                    <a:cubicBezTo>
                      <a:pt x="207" y="234"/>
                      <a:pt x="210" y="228"/>
                      <a:pt x="204" y="219"/>
                    </a:cubicBezTo>
                    <a:cubicBezTo>
                      <a:pt x="195" y="210"/>
                      <a:pt x="195" y="210"/>
                      <a:pt x="192" y="204"/>
                    </a:cubicBezTo>
                    <a:cubicBezTo>
                      <a:pt x="189" y="198"/>
                      <a:pt x="183" y="195"/>
                      <a:pt x="180" y="189"/>
                    </a:cubicBezTo>
                    <a:cubicBezTo>
                      <a:pt x="177" y="189"/>
                      <a:pt x="177" y="189"/>
                      <a:pt x="177" y="189"/>
                    </a:cubicBezTo>
                    <a:cubicBezTo>
                      <a:pt x="177" y="183"/>
                      <a:pt x="177" y="174"/>
                      <a:pt x="177" y="168"/>
                    </a:cubicBezTo>
                    <a:cubicBezTo>
                      <a:pt x="171" y="162"/>
                      <a:pt x="168" y="162"/>
                      <a:pt x="165" y="162"/>
                    </a:cubicBezTo>
                    <a:cubicBezTo>
                      <a:pt x="159" y="168"/>
                      <a:pt x="159" y="171"/>
                      <a:pt x="156" y="180"/>
                    </a:cubicBezTo>
                    <a:cubicBezTo>
                      <a:pt x="156" y="177"/>
                      <a:pt x="153" y="177"/>
                      <a:pt x="153" y="177"/>
                    </a:cubicBezTo>
                    <a:cubicBezTo>
                      <a:pt x="144" y="171"/>
                      <a:pt x="135" y="159"/>
                      <a:pt x="129" y="156"/>
                    </a:cubicBezTo>
                    <a:cubicBezTo>
                      <a:pt x="102" y="153"/>
                      <a:pt x="102" y="144"/>
                      <a:pt x="99" y="126"/>
                    </a:cubicBezTo>
                    <a:cubicBezTo>
                      <a:pt x="93" y="114"/>
                      <a:pt x="87" y="105"/>
                      <a:pt x="84" y="99"/>
                    </a:cubicBezTo>
                    <a:cubicBezTo>
                      <a:pt x="84" y="96"/>
                      <a:pt x="81" y="96"/>
                      <a:pt x="81" y="93"/>
                    </a:cubicBezTo>
                    <a:cubicBezTo>
                      <a:pt x="78" y="93"/>
                      <a:pt x="78" y="93"/>
                      <a:pt x="78" y="93"/>
                    </a:cubicBezTo>
                    <a:cubicBezTo>
                      <a:pt x="72" y="96"/>
                      <a:pt x="66" y="102"/>
                      <a:pt x="63" y="105"/>
                    </a:cubicBezTo>
                    <a:cubicBezTo>
                      <a:pt x="60" y="108"/>
                      <a:pt x="57" y="114"/>
                      <a:pt x="54" y="120"/>
                    </a:cubicBezTo>
                    <a:cubicBezTo>
                      <a:pt x="42" y="111"/>
                      <a:pt x="45" y="99"/>
                      <a:pt x="42" y="93"/>
                    </a:cubicBezTo>
                    <a:cubicBezTo>
                      <a:pt x="39" y="90"/>
                      <a:pt x="36" y="84"/>
                      <a:pt x="36" y="81"/>
                    </a:cubicBezTo>
                    <a:cubicBezTo>
                      <a:pt x="36" y="75"/>
                      <a:pt x="36" y="69"/>
                      <a:pt x="36" y="63"/>
                    </a:cubicBezTo>
                    <a:cubicBezTo>
                      <a:pt x="27" y="51"/>
                      <a:pt x="18" y="45"/>
                      <a:pt x="12" y="39"/>
                    </a:cubicBezTo>
                    <a:cubicBezTo>
                      <a:pt x="0" y="39"/>
                      <a:pt x="9" y="24"/>
                      <a:pt x="9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21" y="27"/>
                      <a:pt x="30" y="36"/>
                      <a:pt x="45" y="36"/>
                    </a:cubicBezTo>
                    <a:cubicBezTo>
                      <a:pt x="51" y="30"/>
                      <a:pt x="57" y="21"/>
                      <a:pt x="63" y="18"/>
                    </a:cubicBezTo>
                    <a:cubicBezTo>
                      <a:pt x="72" y="6"/>
                      <a:pt x="78" y="0"/>
                      <a:pt x="87" y="15"/>
                    </a:cubicBezTo>
                    <a:cubicBezTo>
                      <a:pt x="90" y="30"/>
                      <a:pt x="105" y="42"/>
                      <a:pt x="123" y="48"/>
                    </a:cubicBezTo>
                    <a:cubicBezTo>
                      <a:pt x="132" y="45"/>
                      <a:pt x="144" y="42"/>
                      <a:pt x="153" y="39"/>
                    </a:cubicBezTo>
                    <a:cubicBezTo>
                      <a:pt x="159" y="30"/>
                      <a:pt x="168" y="24"/>
                      <a:pt x="177" y="18"/>
                    </a:cubicBezTo>
                    <a:cubicBezTo>
                      <a:pt x="177" y="18"/>
                      <a:pt x="177" y="18"/>
                      <a:pt x="180" y="21"/>
                    </a:cubicBezTo>
                    <a:cubicBezTo>
                      <a:pt x="180" y="30"/>
                      <a:pt x="174" y="48"/>
                      <a:pt x="195" y="48"/>
                    </a:cubicBezTo>
                    <a:cubicBezTo>
                      <a:pt x="198" y="48"/>
                      <a:pt x="201" y="45"/>
                      <a:pt x="204" y="45"/>
                    </a:cubicBezTo>
                    <a:cubicBezTo>
                      <a:pt x="213" y="36"/>
                      <a:pt x="219" y="48"/>
                      <a:pt x="228" y="57"/>
                    </a:cubicBezTo>
                    <a:cubicBezTo>
                      <a:pt x="231" y="57"/>
                      <a:pt x="237" y="57"/>
                      <a:pt x="240" y="60"/>
                    </a:cubicBezTo>
                    <a:cubicBezTo>
                      <a:pt x="243" y="66"/>
                      <a:pt x="251" y="81"/>
                      <a:pt x="263" y="90"/>
                    </a:cubicBezTo>
                    <a:cubicBezTo>
                      <a:pt x="263" y="90"/>
                      <a:pt x="266" y="90"/>
                      <a:pt x="269" y="90"/>
                    </a:cubicBezTo>
                    <a:cubicBezTo>
                      <a:pt x="275" y="81"/>
                      <a:pt x="278" y="75"/>
                      <a:pt x="278" y="66"/>
                    </a:cubicBezTo>
                    <a:cubicBezTo>
                      <a:pt x="281" y="66"/>
                      <a:pt x="284" y="69"/>
                      <a:pt x="287" y="69"/>
                    </a:cubicBezTo>
                    <a:cubicBezTo>
                      <a:pt x="290" y="78"/>
                      <a:pt x="296" y="87"/>
                      <a:pt x="308" y="96"/>
                    </a:cubicBezTo>
                    <a:cubicBezTo>
                      <a:pt x="308" y="96"/>
                      <a:pt x="308" y="96"/>
                      <a:pt x="308" y="96"/>
                    </a:cubicBezTo>
                    <a:cubicBezTo>
                      <a:pt x="311" y="102"/>
                      <a:pt x="317" y="105"/>
                      <a:pt x="320" y="108"/>
                    </a:cubicBezTo>
                    <a:cubicBezTo>
                      <a:pt x="326" y="108"/>
                      <a:pt x="332" y="108"/>
                      <a:pt x="335" y="108"/>
                    </a:cubicBezTo>
                    <a:cubicBezTo>
                      <a:pt x="338" y="105"/>
                      <a:pt x="341" y="102"/>
                      <a:pt x="344" y="99"/>
                    </a:cubicBezTo>
                    <a:cubicBezTo>
                      <a:pt x="350" y="96"/>
                      <a:pt x="350" y="96"/>
                      <a:pt x="350" y="96"/>
                    </a:cubicBezTo>
                    <a:cubicBezTo>
                      <a:pt x="350" y="93"/>
                      <a:pt x="350" y="93"/>
                      <a:pt x="350" y="90"/>
                    </a:cubicBezTo>
                    <a:cubicBezTo>
                      <a:pt x="347" y="90"/>
                      <a:pt x="347" y="90"/>
                      <a:pt x="347" y="90"/>
                    </a:cubicBezTo>
                    <a:cubicBezTo>
                      <a:pt x="347" y="84"/>
                      <a:pt x="359" y="81"/>
                      <a:pt x="365" y="78"/>
                    </a:cubicBezTo>
                    <a:cubicBezTo>
                      <a:pt x="368" y="78"/>
                      <a:pt x="371" y="75"/>
                      <a:pt x="371" y="75"/>
                    </a:cubicBezTo>
                    <a:cubicBezTo>
                      <a:pt x="374" y="75"/>
                      <a:pt x="374" y="72"/>
                      <a:pt x="374" y="72"/>
                    </a:cubicBezTo>
                    <a:cubicBezTo>
                      <a:pt x="380" y="72"/>
                      <a:pt x="377" y="81"/>
                      <a:pt x="389" y="87"/>
                    </a:cubicBezTo>
                    <a:cubicBezTo>
                      <a:pt x="395" y="90"/>
                      <a:pt x="401" y="96"/>
                      <a:pt x="407" y="99"/>
                    </a:cubicBezTo>
                    <a:cubicBezTo>
                      <a:pt x="413" y="99"/>
                      <a:pt x="419" y="102"/>
                      <a:pt x="422" y="102"/>
                    </a:cubicBezTo>
                    <a:cubicBezTo>
                      <a:pt x="422" y="108"/>
                      <a:pt x="425" y="123"/>
                      <a:pt x="419" y="129"/>
                    </a:cubicBezTo>
                    <a:cubicBezTo>
                      <a:pt x="416" y="132"/>
                      <a:pt x="416" y="138"/>
                      <a:pt x="413" y="141"/>
                    </a:cubicBezTo>
                    <a:cubicBezTo>
                      <a:pt x="413" y="147"/>
                      <a:pt x="410" y="153"/>
                      <a:pt x="410" y="159"/>
                    </a:cubicBezTo>
                    <a:cubicBezTo>
                      <a:pt x="407" y="159"/>
                      <a:pt x="407" y="159"/>
                      <a:pt x="404" y="159"/>
                    </a:cubicBezTo>
                    <a:cubicBezTo>
                      <a:pt x="404" y="150"/>
                      <a:pt x="392" y="156"/>
                      <a:pt x="392" y="156"/>
                    </a:cubicBezTo>
                    <a:cubicBezTo>
                      <a:pt x="389" y="156"/>
                      <a:pt x="389" y="156"/>
                      <a:pt x="389" y="156"/>
                    </a:cubicBezTo>
                    <a:cubicBezTo>
                      <a:pt x="389" y="147"/>
                      <a:pt x="389" y="141"/>
                      <a:pt x="389" y="135"/>
                    </a:cubicBezTo>
                    <a:cubicBezTo>
                      <a:pt x="380" y="120"/>
                      <a:pt x="371" y="126"/>
                      <a:pt x="365" y="138"/>
                    </a:cubicBezTo>
                    <a:cubicBezTo>
                      <a:pt x="362" y="150"/>
                      <a:pt x="353" y="162"/>
                      <a:pt x="350" y="174"/>
                    </a:cubicBezTo>
                    <a:cubicBezTo>
                      <a:pt x="347" y="177"/>
                      <a:pt x="347" y="180"/>
                      <a:pt x="344" y="183"/>
                    </a:cubicBezTo>
                    <a:cubicBezTo>
                      <a:pt x="323" y="198"/>
                      <a:pt x="311" y="177"/>
                      <a:pt x="314" y="210"/>
                    </a:cubicBezTo>
                    <a:cubicBezTo>
                      <a:pt x="317" y="213"/>
                      <a:pt x="323" y="219"/>
                      <a:pt x="326" y="222"/>
                    </a:cubicBezTo>
                    <a:cubicBezTo>
                      <a:pt x="326" y="225"/>
                      <a:pt x="320" y="231"/>
                      <a:pt x="320" y="231"/>
                    </a:cubicBezTo>
                    <a:cubicBezTo>
                      <a:pt x="308" y="234"/>
                      <a:pt x="287" y="231"/>
                      <a:pt x="281" y="231"/>
                    </a:cubicBezTo>
                    <a:cubicBezTo>
                      <a:pt x="269" y="219"/>
                      <a:pt x="263" y="225"/>
                      <a:pt x="257" y="234"/>
                    </a:cubicBezTo>
                    <a:cubicBezTo>
                      <a:pt x="251" y="243"/>
                      <a:pt x="249" y="255"/>
                      <a:pt x="246" y="264"/>
                    </a:cubicBezTo>
                    <a:cubicBezTo>
                      <a:pt x="243" y="267"/>
                      <a:pt x="243" y="270"/>
                      <a:pt x="243" y="270"/>
                    </a:cubicBezTo>
                    <a:cubicBezTo>
                      <a:pt x="240" y="270"/>
                      <a:pt x="240" y="270"/>
                      <a:pt x="237" y="27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13" name="Freeform 112"/>
              <p:cNvSpPr>
                <a:spLocks/>
              </p:cNvSpPr>
              <p:nvPr/>
            </p:nvSpPr>
            <p:spPr bwMode="auto">
              <a:xfrm>
                <a:off x="2670185" y="1488511"/>
                <a:ext cx="2362009" cy="1639762"/>
              </a:xfrm>
              <a:custGeom>
                <a:avLst/>
                <a:gdLst>
                  <a:gd name="T0" fmla="*/ 2147483647 w 990"/>
                  <a:gd name="T1" fmla="*/ 2147483647 h 758"/>
                  <a:gd name="T2" fmla="*/ 2147483647 w 990"/>
                  <a:gd name="T3" fmla="*/ 2147483647 h 758"/>
                  <a:gd name="T4" fmla="*/ 2147483647 w 990"/>
                  <a:gd name="T5" fmla="*/ 2147483647 h 758"/>
                  <a:gd name="T6" fmla="*/ 2147483647 w 990"/>
                  <a:gd name="T7" fmla="*/ 2147483647 h 758"/>
                  <a:gd name="T8" fmla="*/ 2147483647 w 990"/>
                  <a:gd name="T9" fmla="*/ 2147483647 h 758"/>
                  <a:gd name="T10" fmla="*/ 2147483647 w 990"/>
                  <a:gd name="T11" fmla="*/ 2147483647 h 758"/>
                  <a:gd name="T12" fmla="*/ 2147483647 w 990"/>
                  <a:gd name="T13" fmla="*/ 2147483647 h 758"/>
                  <a:gd name="T14" fmla="*/ 1938613384 w 990"/>
                  <a:gd name="T15" fmla="*/ 2147483647 h 758"/>
                  <a:gd name="T16" fmla="*/ 1262512963 w 990"/>
                  <a:gd name="T17" fmla="*/ 2147483647 h 758"/>
                  <a:gd name="T18" fmla="*/ 931362969 w 990"/>
                  <a:gd name="T19" fmla="*/ 2147483647 h 758"/>
                  <a:gd name="T20" fmla="*/ 889967907 w 990"/>
                  <a:gd name="T21" fmla="*/ 2147483647 h 758"/>
                  <a:gd name="T22" fmla="*/ 538120217 w 990"/>
                  <a:gd name="T23" fmla="*/ 2147483647 h 758"/>
                  <a:gd name="T24" fmla="*/ 310455171 w 990"/>
                  <a:gd name="T25" fmla="*/ 2147483647 h 758"/>
                  <a:gd name="T26" fmla="*/ 248362577 w 990"/>
                  <a:gd name="T27" fmla="*/ 2147483647 h 758"/>
                  <a:gd name="T28" fmla="*/ 82787519 w 990"/>
                  <a:gd name="T29" fmla="*/ 2147483647 h 758"/>
                  <a:gd name="T30" fmla="*/ 20697536 w 990"/>
                  <a:gd name="T31" fmla="*/ 2147483647 h 758"/>
                  <a:gd name="T32" fmla="*/ 144877507 w 990"/>
                  <a:gd name="T33" fmla="*/ 2147483647 h 758"/>
                  <a:gd name="T34" fmla="*/ 745090441 w 990"/>
                  <a:gd name="T35" fmla="*/ 2147483647 h 758"/>
                  <a:gd name="T36" fmla="*/ 1076240435 w 990"/>
                  <a:gd name="T37" fmla="*/ 2147483647 h 758"/>
                  <a:gd name="T38" fmla="*/ 1448785819 w 990"/>
                  <a:gd name="T39" fmla="*/ 2147483647 h 758"/>
                  <a:gd name="T40" fmla="*/ 2042098414 w 990"/>
                  <a:gd name="T41" fmla="*/ 2147483647 h 758"/>
                  <a:gd name="T42" fmla="*/ 2147483647 w 990"/>
                  <a:gd name="T43" fmla="*/ 1903676785 h 758"/>
                  <a:gd name="T44" fmla="*/ 2147483647 w 990"/>
                  <a:gd name="T45" fmla="*/ 1531219611 h 758"/>
                  <a:gd name="T46" fmla="*/ 2147483647 w 990"/>
                  <a:gd name="T47" fmla="*/ 1138066979 h 758"/>
                  <a:gd name="T48" fmla="*/ 2147483647 w 990"/>
                  <a:gd name="T49" fmla="*/ 1241529494 h 758"/>
                  <a:gd name="T50" fmla="*/ 2147483647 w 990"/>
                  <a:gd name="T51" fmla="*/ 972529582 h 758"/>
                  <a:gd name="T52" fmla="*/ 2147483647 w 990"/>
                  <a:gd name="T53" fmla="*/ 517302232 h 758"/>
                  <a:gd name="T54" fmla="*/ 2147483647 w 990"/>
                  <a:gd name="T55" fmla="*/ 620764747 h 758"/>
                  <a:gd name="T56" fmla="*/ 2147483647 w 990"/>
                  <a:gd name="T57" fmla="*/ 62077529 h 758"/>
                  <a:gd name="T58" fmla="*/ 2147483647 w 990"/>
                  <a:gd name="T59" fmla="*/ 206922485 h 758"/>
                  <a:gd name="T60" fmla="*/ 2147483647 w 990"/>
                  <a:gd name="T61" fmla="*/ 579379741 h 758"/>
                  <a:gd name="T62" fmla="*/ 2147483647 w 990"/>
                  <a:gd name="T63" fmla="*/ 972529582 h 758"/>
                  <a:gd name="T64" fmla="*/ 2147483647 w 990"/>
                  <a:gd name="T65" fmla="*/ 1613986996 h 758"/>
                  <a:gd name="T66" fmla="*/ 2147483647 w 990"/>
                  <a:gd name="T67" fmla="*/ 1820909399 h 758"/>
                  <a:gd name="T68" fmla="*/ 2147483647 w 990"/>
                  <a:gd name="T69" fmla="*/ 2147483647 h 758"/>
                  <a:gd name="T70" fmla="*/ 2147483647 w 990"/>
                  <a:gd name="T71" fmla="*/ 2147483647 h 758"/>
                  <a:gd name="T72" fmla="*/ 2147483647 w 990"/>
                  <a:gd name="T73" fmla="*/ 2147483647 h 758"/>
                  <a:gd name="T74" fmla="*/ 2147483647 w 990"/>
                  <a:gd name="T75" fmla="*/ 2147483647 h 758"/>
                  <a:gd name="T76" fmla="*/ 2147483647 w 990"/>
                  <a:gd name="T77" fmla="*/ 2147483647 h 758"/>
                  <a:gd name="T78" fmla="*/ 2147483647 w 990"/>
                  <a:gd name="T79" fmla="*/ 2147483647 h 758"/>
                  <a:gd name="T80" fmla="*/ 2147483647 w 990"/>
                  <a:gd name="T81" fmla="*/ 2147483647 h 758"/>
                  <a:gd name="T82" fmla="*/ 2147483647 w 990"/>
                  <a:gd name="T83" fmla="*/ 2147483647 h 758"/>
                  <a:gd name="T84" fmla="*/ 2147483647 w 990"/>
                  <a:gd name="T85" fmla="*/ 2147483647 h 758"/>
                  <a:gd name="T86" fmla="*/ 2147483647 w 990"/>
                  <a:gd name="T87" fmla="*/ 2147483647 h 7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990"/>
                  <a:gd name="T133" fmla="*/ 0 h 758"/>
                  <a:gd name="T134" fmla="*/ 990 w 990"/>
                  <a:gd name="T135" fmla="*/ 758 h 75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990" h="758">
                    <a:moveTo>
                      <a:pt x="709" y="758"/>
                    </a:moveTo>
                    <a:cubicBezTo>
                      <a:pt x="706" y="755"/>
                      <a:pt x="703" y="755"/>
                      <a:pt x="700" y="755"/>
                    </a:cubicBezTo>
                    <a:cubicBezTo>
                      <a:pt x="697" y="749"/>
                      <a:pt x="694" y="746"/>
                      <a:pt x="688" y="743"/>
                    </a:cubicBezTo>
                    <a:cubicBezTo>
                      <a:pt x="676" y="743"/>
                      <a:pt x="676" y="740"/>
                      <a:pt x="670" y="752"/>
                    </a:cubicBezTo>
                    <a:cubicBezTo>
                      <a:pt x="667" y="749"/>
                      <a:pt x="667" y="749"/>
                      <a:pt x="664" y="749"/>
                    </a:cubicBezTo>
                    <a:cubicBezTo>
                      <a:pt x="661" y="749"/>
                      <a:pt x="655" y="749"/>
                      <a:pt x="652" y="752"/>
                    </a:cubicBezTo>
                    <a:cubicBezTo>
                      <a:pt x="646" y="743"/>
                      <a:pt x="649" y="737"/>
                      <a:pt x="646" y="734"/>
                    </a:cubicBezTo>
                    <a:cubicBezTo>
                      <a:pt x="643" y="731"/>
                      <a:pt x="640" y="731"/>
                      <a:pt x="637" y="728"/>
                    </a:cubicBezTo>
                    <a:cubicBezTo>
                      <a:pt x="622" y="713"/>
                      <a:pt x="610" y="704"/>
                      <a:pt x="592" y="713"/>
                    </a:cubicBezTo>
                    <a:cubicBezTo>
                      <a:pt x="577" y="713"/>
                      <a:pt x="565" y="716"/>
                      <a:pt x="553" y="713"/>
                    </a:cubicBezTo>
                    <a:cubicBezTo>
                      <a:pt x="547" y="713"/>
                      <a:pt x="542" y="710"/>
                      <a:pt x="536" y="707"/>
                    </a:cubicBezTo>
                    <a:cubicBezTo>
                      <a:pt x="530" y="707"/>
                      <a:pt x="524" y="707"/>
                      <a:pt x="521" y="707"/>
                    </a:cubicBezTo>
                    <a:cubicBezTo>
                      <a:pt x="509" y="716"/>
                      <a:pt x="494" y="722"/>
                      <a:pt x="488" y="734"/>
                    </a:cubicBezTo>
                    <a:cubicBezTo>
                      <a:pt x="482" y="734"/>
                      <a:pt x="476" y="734"/>
                      <a:pt x="470" y="734"/>
                    </a:cubicBezTo>
                    <a:cubicBezTo>
                      <a:pt x="464" y="731"/>
                      <a:pt x="461" y="728"/>
                      <a:pt x="455" y="725"/>
                    </a:cubicBezTo>
                    <a:cubicBezTo>
                      <a:pt x="443" y="725"/>
                      <a:pt x="440" y="725"/>
                      <a:pt x="437" y="728"/>
                    </a:cubicBezTo>
                    <a:cubicBezTo>
                      <a:pt x="431" y="731"/>
                      <a:pt x="428" y="731"/>
                      <a:pt x="422" y="734"/>
                    </a:cubicBezTo>
                    <a:cubicBezTo>
                      <a:pt x="410" y="734"/>
                      <a:pt x="404" y="737"/>
                      <a:pt x="395" y="740"/>
                    </a:cubicBezTo>
                    <a:cubicBezTo>
                      <a:pt x="380" y="740"/>
                      <a:pt x="359" y="731"/>
                      <a:pt x="356" y="725"/>
                    </a:cubicBezTo>
                    <a:cubicBezTo>
                      <a:pt x="356" y="707"/>
                      <a:pt x="353" y="710"/>
                      <a:pt x="344" y="704"/>
                    </a:cubicBezTo>
                    <a:cubicBezTo>
                      <a:pt x="326" y="704"/>
                      <a:pt x="329" y="704"/>
                      <a:pt x="320" y="716"/>
                    </a:cubicBezTo>
                    <a:cubicBezTo>
                      <a:pt x="308" y="722"/>
                      <a:pt x="296" y="719"/>
                      <a:pt x="287" y="725"/>
                    </a:cubicBezTo>
                    <a:cubicBezTo>
                      <a:pt x="284" y="725"/>
                      <a:pt x="284" y="725"/>
                      <a:pt x="284" y="725"/>
                    </a:cubicBezTo>
                    <a:cubicBezTo>
                      <a:pt x="284" y="722"/>
                      <a:pt x="281" y="722"/>
                      <a:pt x="281" y="719"/>
                    </a:cubicBezTo>
                    <a:cubicBezTo>
                      <a:pt x="269" y="704"/>
                      <a:pt x="252" y="698"/>
                      <a:pt x="237" y="698"/>
                    </a:cubicBezTo>
                    <a:cubicBezTo>
                      <a:pt x="219" y="710"/>
                      <a:pt x="213" y="716"/>
                      <a:pt x="207" y="734"/>
                    </a:cubicBezTo>
                    <a:cubicBezTo>
                      <a:pt x="198" y="743"/>
                      <a:pt x="195" y="749"/>
                      <a:pt x="183" y="749"/>
                    </a:cubicBezTo>
                    <a:cubicBezTo>
                      <a:pt x="177" y="749"/>
                      <a:pt x="174" y="746"/>
                      <a:pt x="168" y="746"/>
                    </a:cubicBezTo>
                    <a:cubicBezTo>
                      <a:pt x="165" y="743"/>
                      <a:pt x="162" y="740"/>
                      <a:pt x="159" y="740"/>
                    </a:cubicBezTo>
                    <a:cubicBezTo>
                      <a:pt x="156" y="725"/>
                      <a:pt x="141" y="722"/>
                      <a:pt x="135" y="719"/>
                    </a:cubicBezTo>
                    <a:cubicBezTo>
                      <a:pt x="132" y="716"/>
                      <a:pt x="132" y="713"/>
                      <a:pt x="129" y="710"/>
                    </a:cubicBezTo>
                    <a:cubicBezTo>
                      <a:pt x="129" y="704"/>
                      <a:pt x="129" y="698"/>
                      <a:pt x="129" y="689"/>
                    </a:cubicBezTo>
                    <a:cubicBezTo>
                      <a:pt x="132" y="686"/>
                      <a:pt x="129" y="677"/>
                      <a:pt x="129" y="677"/>
                    </a:cubicBezTo>
                    <a:cubicBezTo>
                      <a:pt x="123" y="659"/>
                      <a:pt x="108" y="662"/>
                      <a:pt x="96" y="659"/>
                    </a:cubicBezTo>
                    <a:cubicBezTo>
                      <a:pt x="93" y="656"/>
                      <a:pt x="93" y="653"/>
                      <a:pt x="90" y="650"/>
                    </a:cubicBezTo>
                    <a:cubicBezTo>
                      <a:pt x="84" y="644"/>
                      <a:pt x="81" y="638"/>
                      <a:pt x="78" y="629"/>
                    </a:cubicBezTo>
                    <a:cubicBezTo>
                      <a:pt x="72" y="629"/>
                      <a:pt x="66" y="626"/>
                      <a:pt x="60" y="626"/>
                    </a:cubicBezTo>
                    <a:cubicBezTo>
                      <a:pt x="54" y="614"/>
                      <a:pt x="63" y="602"/>
                      <a:pt x="66" y="593"/>
                    </a:cubicBezTo>
                    <a:cubicBezTo>
                      <a:pt x="66" y="575"/>
                      <a:pt x="54" y="566"/>
                      <a:pt x="45" y="557"/>
                    </a:cubicBezTo>
                    <a:cubicBezTo>
                      <a:pt x="36" y="554"/>
                      <a:pt x="30" y="551"/>
                      <a:pt x="21" y="545"/>
                    </a:cubicBezTo>
                    <a:cubicBezTo>
                      <a:pt x="21" y="545"/>
                      <a:pt x="18" y="545"/>
                      <a:pt x="18" y="542"/>
                    </a:cubicBezTo>
                    <a:cubicBezTo>
                      <a:pt x="18" y="524"/>
                      <a:pt x="18" y="527"/>
                      <a:pt x="36" y="521"/>
                    </a:cubicBezTo>
                    <a:cubicBezTo>
                      <a:pt x="39" y="518"/>
                      <a:pt x="45" y="513"/>
                      <a:pt x="45" y="510"/>
                    </a:cubicBezTo>
                    <a:cubicBezTo>
                      <a:pt x="45" y="495"/>
                      <a:pt x="45" y="477"/>
                      <a:pt x="45" y="462"/>
                    </a:cubicBezTo>
                    <a:cubicBezTo>
                      <a:pt x="42" y="438"/>
                      <a:pt x="24" y="444"/>
                      <a:pt x="12" y="444"/>
                    </a:cubicBezTo>
                    <a:cubicBezTo>
                      <a:pt x="9" y="444"/>
                      <a:pt x="9" y="447"/>
                      <a:pt x="6" y="447"/>
                    </a:cubicBezTo>
                    <a:cubicBezTo>
                      <a:pt x="6" y="450"/>
                      <a:pt x="6" y="450"/>
                      <a:pt x="6" y="450"/>
                    </a:cubicBezTo>
                    <a:cubicBezTo>
                      <a:pt x="3" y="438"/>
                      <a:pt x="3" y="435"/>
                      <a:pt x="3" y="429"/>
                    </a:cubicBezTo>
                    <a:cubicBezTo>
                      <a:pt x="6" y="426"/>
                      <a:pt x="12" y="426"/>
                      <a:pt x="15" y="423"/>
                    </a:cubicBezTo>
                    <a:cubicBezTo>
                      <a:pt x="15" y="420"/>
                      <a:pt x="15" y="414"/>
                      <a:pt x="15" y="411"/>
                    </a:cubicBezTo>
                    <a:cubicBezTo>
                      <a:pt x="3" y="393"/>
                      <a:pt x="0" y="405"/>
                      <a:pt x="21" y="390"/>
                    </a:cubicBezTo>
                    <a:cubicBezTo>
                      <a:pt x="24" y="384"/>
                      <a:pt x="30" y="378"/>
                      <a:pt x="33" y="372"/>
                    </a:cubicBezTo>
                    <a:cubicBezTo>
                      <a:pt x="42" y="369"/>
                      <a:pt x="48" y="366"/>
                      <a:pt x="54" y="363"/>
                    </a:cubicBezTo>
                    <a:cubicBezTo>
                      <a:pt x="78" y="363"/>
                      <a:pt x="90" y="363"/>
                      <a:pt x="108" y="354"/>
                    </a:cubicBezTo>
                    <a:cubicBezTo>
                      <a:pt x="111" y="354"/>
                      <a:pt x="114" y="354"/>
                      <a:pt x="117" y="354"/>
                    </a:cubicBezTo>
                    <a:cubicBezTo>
                      <a:pt x="117" y="360"/>
                      <a:pt x="120" y="375"/>
                      <a:pt x="135" y="378"/>
                    </a:cubicBezTo>
                    <a:cubicBezTo>
                      <a:pt x="141" y="378"/>
                      <a:pt x="150" y="378"/>
                      <a:pt x="156" y="375"/>
                    </a:cubicBezTo>
                    <a:cubicBezTo>
                      <a:pt x="162" y="366"/>
                      <a:pt x="165" y="360"/>
                      <a:pt x="171" y="354"/>
                    </a:cubicBezTo>
                    <a:cubicBezTo>
                      <a:pt x="180" y="354"/>
                      <a:pt x="186" y="357"/>
                      <a:pt x="198" y="354"/>
                    </a:cubicBezTo>
                    <a:cubicBezTo>
                      <a:pt x="201" y="348"/>
                      <a:pt x="204" y="348"/>
                      <a:pt x="210" y="342"/>
                    </a:cubicBezTo>
                    <a:cubicBezTo>
                      <a:pt x="213" y="342"/>
                      <a:pt x="216" y="342"/>
                      <a:pt x="219" y="342"/>
                    </a:cubicBezTo>
                    <a:cubicBezTo>
                      <a:pt x="228" y="345"/>
                      <a:pt x="234" y="348"/>
                      <a:pt x="246" y="348"/>
                    </a:cubicBezTo>
                    <a:cubicBezTo>
                      <a:pt x="257" y="342"/>
                      <a:pt x="278" y="345"/>
                      <a:pt x="296" y="339"/>
                    </a:cubicBezTo>
                    <a:cubicBezTo>
                      <a:pt x="302" y="336"/>
                      <a:pt x="308" y="330"/>
                      <a:pt x="314" y="327"/>
                    </a:cubicBezTo>
                    <a:cubicBezTo>
                      <a:pt x="317" y="321"/>
                      <a:pt x="320" y="315"/>
                      <a:pt x="320" y="312"/>
                    </a:cubicBezTo>
                    <a:cubicBezTo>
                      <a:pt x="335" y="306"/>
                      <a:pt x="338" y="288"/>
                      <a:pt x="341" y="276"/>
                    </a:cubicBezTo>
                    <a:cubicBezTo>
                      <a:pt x="347" y="273"/>
                      <a:pt x="356" y="270"/>
                      <a:pt x="359" y="267"/>
                    </a:cubicBezTo>
                    <a:cubicBezTo>
                      <a:pt x="362" y="261"/>
                      <a:pt x="365" y="255"/>
                      <a:pt x="365" y="249"/>
                    </a:cubicBezTo>
                    <a:cubicBezTo>
                      <a:pt x="365" y="240"/>
                      <a:pt x="368" y="231"/>
                      <a:pt x="368" y="222"/>
                    </a:cubicBezTo>
                    <a:cubicBezTo>
                      <a:pt x="365" y="216"/>
                      <a:pt x="365" y="213"/>
                      <a:pt x="365" y="210"/>
                    </a:cubicBezTo>
                    <a:cubicBezTo>
                      <a:pt x="365" y="192"/>
                      <a:pt x="371" y="177"/>
                      <a:pt x="365" y="168"/>
                    </a:cubicBezTo>
                    <a:cubicBezTo>
                      <a:pt x="362" y="168"/>
                      <a:pt x="362" y="165"/>
                      <a:pt x="362" y="165"/>
                    </a:cubicBezTo>
                    <a:cubicBezTo>
                      <a:pt x="380" y="165"/>
                      <a:pt x="395" y="165"/>
                      <a:pt x="413" y="168"/>
                    </a:cubicBezTo>
                    <a:cubicBezTo>
                      <a:pt x="425" y="174"/>
                      <a:pt x="437" y="168"/>
                      <a:pt x="452" y="180"/>
                    </a:cubicBezTo>
                    <a:cubicBezTo>
                      <a:pt x="455" y="180"/>
                      <a:pt x="458" y="180"/>
                      <a:pt x="461" y="180"/>
                    </a:cubicBezTo>
                    <a:cubicBezTo>
                      <a:pt x="464" y="177"/>
                      <a:pt x="464" y="174"/>
                      <a:pt x="467" y="174"/>
                    </a:cubicBezTo>
                    <a:cubicBezTo>
                      <a:pt x="467" y="171"/>
                      <a:pt x="467" y="168"/>
                      <a:pt x="467" y="165"/>
                    </a:cubicBezTo>
                    <a:cubicBezTo>
                      <a:pt x="464" y="156"/>
                      <a:pt x="464" y="147"/>
                      <a:pt x="467" y="141"/>
                    </a:cubicBezTo>
                    <a:cubicBezTo>
                      <a:pt x="476" y="132"/>
                      <a:pt x="482" y="126"/>
                      <a:pt x="488" y="120"/>
                    </a:cubicBezTo>
                    <a:cubicBezTo>
                      <a:pt x="491" y="102"/>
                      <a:pt x="497" y="99"/>
                      <a:pt x="506" y="87"/>
                    </a:cubicBezTo>
                    <a:cubicBezTo>
                      <a:pt x="509" y="78"/>
                      <a:pt x="506" y="75"/>
                      <a:pt x="518" y="75"/>
                    </a:cubicBezTo>
                    <a:cubicBezTo>
                      <a:pt x="527" y="81"/>
                      <a:pt x="539" y="87"/>
                      <a:pt x="547" y="96"/>
                    </a:cubicBezTo>
                    <a:cubicBezTo>
                      <a:pt x="553" y="96"/>
                      <a:pt x="565" y="96"/>
                      <a:pt x="574" y="105"/>
                    </a:cubicBezTo>
                    <a:cubicBezTo>
                      <a:pt x="586" y="105"/>
                      <a:pt x="610" y="105"/>
                      <a:pt x="616" y="90"/>
                    </a:cubicBezTo>
                    <a:cubicBezTo>
                      <a:pt x="616" y="78"/>
                      <a:pt x="613" y="66"/>
                      <a:pt x="613" y="54"/>
                    </a:cubicBezTo>
                    <a:cubicBezTo>
                      <a:pt x="625" y="30"/>
                      <a:pt x="640" y="30"/>
                      <a:pt x="667" y="27"/>
                    </a:cubicBezTo>
                    <a:cubicBezTo>
                      <a:pt x="676" y="24"/>
                      <a:pt x="679" y="15"/>
                      <a:pt x="682" y="9"/>
                    </a:cubicBezTo>
                    <a:cubicBezTo>
                      <a:pt x="682" y="6"/>
                      <a:pt x="685" y="3"/>
                      <a:pt x="688" y="3"/>
                    </a:cubicBezTo>
                    <a:cubicBezTo>
                      <a:pt x="694" y="0"/>
                      <a:pt x="703" y="0"/>
                      <a:pt x="709" y="0"/>
                    </a:cubicBezTo>
                    <a:cubicBezTo>
                      <a:pt x="712" y="3"/>
                      <a:pt x="715" y="21"/>
                      <a:pt x="718" y="30"/>
                    </a:cubicBezTo>
                    <a:cubicBezTo>
                      <a:pt x="724" y="42"/>
                      <a:pt x="733" y="51"/>
                      <a:pt x="739" y="63"/>
                    </a:cubicBezTo>
                    <a:cubicBezTo>
                      <a:pt x="745" y="66"/>
                      <a:pt x="757" y="69"/>
                      <a:pt x="769" y="72"/>
                    </a:cubicBezTo>
                    <a:cubicBezTo>
                      <a:pt x="775" y="75"/>
                      <a:pt x="778" y="81"/>
                      <a:pt x="784" y="84"/>
                    </a:cubicBezTo>
                    <a:cubicBezTo>
                      <a:pt x="787" y="87"/>
                      <a:pt x="790" y="93"/>
                      <a:pt x="793" y="96"/>
                    </a:cubicBezTo>
                    <a:cubicBezTo>
                      <a:pt x="793" y="105"/>
                      <a:pt x="793" y="114"/>
                      <a:pt x="796" y="123"/>
                    </a:cubicBezTo>
                    <a:cubicBezTo>
                      <a:pt x="799" y="129"/>
                      <a:pt x="802" y="135"/>
                      <a:pt x="805" y="141"/>
                    </a:cubicBezTo>
                    <a:cubicBezTo>
                      <a:pt x="805" y="150"/>
                      <a:pt x="811" y="171"/>
                      <a:pt x="802" y="183"/>
                    </a:cubicBezTo>
                    <a:cubicBezTo>
                      <a:pt x="781" y="195"/>
                      <a:pt x="784" y="189"/>
                      <a:pt x="784" y="213"/>
                    </a:cubicBezTo>
                    <a:cubicBezTo>
                      <a:pt x="784" y="216"/>
                      <a:pt x="784" y="225"/>
                      <a:pt x="790" y="234"/>
                    </a:cubicBezTo>
                    <a:cubicBezTo>
                      <a:pt x="796" y="237"/>
                      <a:pt x="802" y="243"/>
                      <a:pt x="808" y="246"/>
                    </a:cubicBezTo>
                    <a:cubicBezTo>
                      <a:pt x="814" y="246"/>
                      <a:pt x="823" y="249"/>
                      <a:pt x="831" y="252"/>
                    </a:cubicBezTo>
                    <a:cubicBezTo>
                      <a:pt x="846" y="264"/>
                      <a:pt x="864" y="264"/>
                      <a:pt x="888" y="264"/>
                    </a:cubicBezTo>
                    <a:cubicBezTo>
                      <a:pt x="894" y="267"/>
                      <a:pt x="909" y="279"/>
                      <a:pt x="918" y="288"/>
                    </a:cubicBezTo>
                    <a:cubicBezTo>
                      <a:pt x="924" y="297"/>
                      <a:pt x="933" y="303"/>
                      <a:pt x="939" y="309"/>
                    </a:cubicBezTo>
                    <a:cubicBezTo>
                      <a:pt x="948" y="309"/>
                      <a:pt x="957" y="312"/>
                      <a:pt x="963" y="321"/>
                    </a:cubicBezTo>
                    <a:cubicBezTo>
                      <a:pt x="966" y="330"/>
                      <a:pt x="969" y="345"/>
                      <a:pt x="975" y="357"/>
                    </a:cubicBezTo>
                    <a:cubicBezTo>
                      <a:pt x="978" y="360"/>
                      <a:pt x="984" y="360"/>
                      <a:pt x="987" y="369"/>
                    </a:cubicBezTo>
                    <a:cubicBezTo>
                      <a:pt x="987" y="375"/>
                      <a:pt x="984" y="378"/>
                      <a:pt x="984" y="384"/>
                    </a:cubicBezTo>
                    <a:cubicBezTo>
                      <a:pt x="987" y="387"/>
                      <a:pt x="987" y="390"/>
                      <a:pt x="990" y="396"/>
                    </a:cubicBezTo>
                    <a:cubicBezTo>
                      <a:pt x="978" y="402"/>
                      <a:pt x="978" y="402"/>
                      <a:pt x="975" y="417"/>
                    </a:cubicBezTo>
                    <a:cubicBezTo>
                      <a:pt x="975" y="423"/>
                      <a:pt x="975" y="429"/>
                      <a:pt x="975" y="435"/>
                    </a:cubicBezTo>
                    <a:cubicBezTo>
                      <a:pt x="975" y="441"/>
                      <a:pt x="978" y="447"/>
                      <a:pt x="978" y="453"/>
                    </a:cubicBezTo>
                    <a:cubicBezTo>
                      <a:pt x="975" y="453"/>
                      <a:pt x="975" y="453"/>
                      <a:pt x="975" y="453"/>
                    </a:cubicBezTo>
                    <a:cubicBezTo>
                      <a:pt x="963" y="456"/>
                      <a:pt x="951" y="456"/>
                      <a:pt x="939" y="456"/>
                    </a:cubicBezTo>
                    <a:cubicBezTo>
                      <a:pt x="912" y="459"/>
                      <a:pt x="900" y="462"/>
                      <a:pt x="891" y="486"/>
                    </a:cubicBezTo>
                    <a:cubicBezTo>
                      <a:pt x="885" y="495"/>
                      <a:pt x="879" y="498"/>
                      <a:pt x="876" y="510"/>
                    </a:cubicBezTo>
                    <a:cubicBezTo>
                      <a:pt x="864" y="518"/>
                      <a:pt x="846" y="518"/>
                      <a:pt x="834" y="518"/>
                    </a:cubicBezTo>
                    <a:cubicBezTo>
                      <a:pt x="834" y="524"/>
                      <a:pt x="829" y="533"/>
                      <a:pt x="823" y="539"/>
                    </a:cubicBezTo>
                    <a:cubicBezTo>
                      <a:pt x="820" y="548"/>
                      <a:pt x="823" y="557"/>
                      <a:pt x="829" y="572"/>
                    </a:cubicBezTo>
                    <a:cubicBezTo>
                      <a:pt x="829" y="578"/>
                      <a:pt x="829" y="581"/>
                      <a:pt x="829" y="587"/>
                    </a:cubicBezTo>
                    <a:cubicBezTo>
                      <a:pt x="820" y="587"/>
                      <a:pt x="811" y="590"/>
                      <a:pt x="802" y="593"/>
                    </a:cubicBezTo>
                    <a:cubicBezTo>
                      <a:pt x="793" y="593"/>
                      <a:pt x="787" y="599"/>
                      <a:pt x="781" y="602"/>
                    </a:cubicBezTo>
                    <a:cubicBezTo>
                      <a:pt x="757" y="611"/>
                      <a:pt x="733" y="614"/>
                      <a:pt x="712" y="614"/>
                    </a:cubicBezTo>
                    <a:cubicBezTo>
                      <a:pt x="703" y="614"/>
                      <a:pt x="703" y="614"/>
                      <a:pt x="697" y="617"/>
                    </a:cubicBezTo>
                    <a:cubicBezTo>
                      <a:pt x="697" y="626"/>
                      <a:pt x="697" y="626"/>
                      <a:pt x="706" y="635"/>
                    </a:cubicBezTo>
                    <a:cubicBezTo>
                      <a:pt x="697" y="647"/>
                      <a:pt x="706" y="656"/>
                      <a:pt x="718" y="665"/>
                    </a:cubicBezTo>
                    <a:cubicBezTo>
                      <a:pt x="724" y="668"/>
                      <a:pt x="727" y="674"/>
                      <a:pt x="730" y="680"/>
                    </a:cubicBezTo>
                    <a:cubicBezTo>
                      <a:pt x="736" y="683"/>
                      <a:pt x="739" y="686"/>
                      <a:pt x="739" y="698"/>
                    </a:cubicBezTo>
                    <a:cubicBezTo>
                      <a:pt x="736" y="701"/>
                      <a:pt x="733" y="701"/>
                      <a:pt x="733" y="704"/>
                    </a:cubicBezTo>
                    <a:cubicBezTo>
                      <a:pt x="715" y="713"/>
                      <a:pt x="715" y="710"/>
                      <a:pt x="715" y="731"/>
                    </a:cubicBezTo>
                    <a:cubicBezTo>
                      <a:pt x="718" y="734"/>
                      <a:pt x="724" y="740"/>
                      <a:pt x="724" y="752"/>
                    </a:cubicBezTo>
                    <a:cubicBezTo>
                      <a:pt x="718" y="758"/>
                      <a:pt x="712" y="758"/>
                      <a:pt x="709" y="75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14" name="Freeform 113"/>
              <p:cNvSpPr>
                <a:spLocks/>
              </p:cNvSpPr>
              <p:nvPr/>
            </p:nvSpPr>
            <p:spPr bwMode="auto">
              <a:xfrm>
                <a:off x="4226110" y="2771291"/>
                <a:ext cx="1482385" cy="974181"/>
              </a:xfrm>
              <a:custGeom>
                <a:avLst/>
                <a:gdLst>
                  <a:gd name="T0" fmla="*/ 1789808319 w 622"/>
                  <a:gd name="T1" fmla="*/ 2147483647 h 450"/>
                  <a:gd name="T2" fmla="*/ 1459380554 w 622"/>
                  <a:gd name="T3" fmla="*/ 2147483647 h 450"/>
                  <a:gd name="T4" fmla="*/ 846717051 w 622"/>
                  <a:gd name="T5" fmla="*/ 2147483647 h 450"/>
                  <a:gd name="T6" fmla="*/ 495637877 w 622"/>
                  <a:gd name="T7" fmla="*/ 2147483647 h 450"/>
                  <a:gd name="T8" fmla="*/ 227169007 w 622"/>
                  <a:gd name="T9" fmla="*/ 2147483647 h 450"/>
                  <a:gd name="T10" fmla="*/ 0 w 622"/>
                  <a:gd name="T11" fmla="*/ 1409112578 h 450"/>
                  <a:gd name="T12" fmla="*/ 20651249 w 622"/>
                  <a:gd name="T13" fmla="*/ 1119001590 h 450"/>
                  <a:gd name="T14" fmla="*/ 144561369 w 622"/>
                  <a:gd name="T15" fmla="*/ 1119001590 h 450"/>
                  <a:gd name="T16" fmla="*/ 371730417 w 622"/>
                  <a:gd name="T17" fmla="*/ 1160445595 h 450"/>
                  <a:gd name="T18" fmla="*/ 536942988 w 622"/>
                  <a:gd name="T19" fmla="*/ 1119001590 h 450"/>
                  <a:gd name="T20" fmla="*/ 474986634 w 622"/>
                  <a:gd name="T21" fmla="*/ 870334935 h 450"/>
                  <a:gd name="T22" fmla="*/ 619547961 w 622"/>
                  <a:gd name="T23" fmla="*/ 766723610 h 450"/>
                  <a:gd name="T24" fmla="*/ 413032904 w 622"/>
                  <a:gd name="T25" fmla="*/ 414445465 h 450"/>
                  <a:gd name="T26" fmla="*/ 351076550 w 622"/>
                  <a:gd name="T27" fmla="*/ 207222733 h 450"/>
                  <a:gd name="T28" fmla="*/ 867368294 w 622"/>
                  <a:gd name="T29" fmla="*/ 124334683 h 450"/>
                  <a:gd name="T30" fmla="*/ 1356124009 w 622"/>
                  <a:gd name="T31" fmla="*/ 20723321 h 450"/>
                  <a:gd name="T32" fmla="*/ 2058277108 w 622"/>
                  <a:gd name="T33" fmla="*/ 248666737 h 450"/>
                  <a:gd name="T34" fmla="*/ 2147483647 w 622"/>
                  <a:gd name="T35" fmla="*/ 414445465 h 450"/>
                  <a:gd name="T36" fmla="*/ 2147483647 w 622"/>
                  <a:gd name="T37" fmla="*/ 373001461 h 450"/>
                  <a:gd name="T38" fmla="*/ 2147483647 w 622"/>
                  <a:gd name="T39" fmla="*/ 165778687 h 450"/>
                  <a:gd name="T40" fmla="*/ 2147483647 w 622"/>
                  <a:gd name="T41" fmla="*/ 290110742 h 450"/>
                  <a:gd name="T42" fmla="*/ 2147483647 w 622"/>
                  <a:gd name="T43" fmla="*/ 435166154 h 450"/>
                  <a:gd name="T44" fmla="*/ 2147483647 w 622"/>
                  <a:gd name="T45" fmla="*/ 476612786 h 450"/>
                  <a:gd name="T46" fmla="*/ 2147483647 w 622"/>
                  <a:gd name="T47" fmla="*/ 621668116 h 450"/>
                  <a:gd name="T48" fmla="*/ 2147483647 w 622"/>
                  <a:gd name="T49" fmla="*/ 808167614 h 450"/>
                  <a:gd name="T50" fmla="*/ 2147483647 w 622"/>
                  <a:gd name="T51" fmla="*/ 1077557586 h 450"/>
                  <a:gd name="T52" fmla="*/ 2147483647 w 622"/>
                  <a:gd name="T53" fmla="*/ 1409112578 h 450"/>
                  <a:gd name="T54" fmla="*/ 2147483647 w 622"/>
                  <a:gd name="T55" fmla="*/ 1865001884 h 450"/>
                  <a:gd name="T56" fmla="*/ 2147483647 w 622"/>
                  <a:gd name="T57" fmla="*/ 2010057214 h 450"/>
                  <a:gd name="T58" fmla="*/ 2147483647 w 622"/>
                  <a:gd name="T59" fmla="*/ 2147483647 h 450"/>
                  <a:gd name="T60" fmla="*/ 2147483647 w 622"/>
                  <a:gd name="T61" fmla="*/ 2092945223 h 450"/>
                  <a:gd name="T62" fmla="*/ 2147483647 w 622"/>
                  <a:gd name="T63" fmla="*/ 2147483647 h 450"/>
                  <a:gd name="T64" fmla="*/ 2147483647 w 622"/>
                  <a:gd name="T65" fmla="*/ 2147483647 h 450"/>
                  <a:gd name="T66" fmla="*/ 2147483647 w 622"/>
                  <a:gd name="T67" fmla="*/ 2147483647 h 450"/>
                  <a:gd name="T68" fmla="*/ 2147483647 w 622"/>
                  <a:gd name="T69" fmla="*/ 2147483647 h 450"/>
                  <a:gd name="T70" fmla="*/ 2147483647 w 622"/>
                  <a:gd name="T71" fmla="*/ 2147483647 h 450"/>
                  <a:gd name="T72" fmla="*/ 2147483647 w 622"/>
                  <a:gd name="T73" fmla="*/ 2147483647 h 450"/>
                  <a:gd name="T74" fmla="*/ 2147483647 w 622"/>
                  <a:gd name="T75" fmla="*/ 2147483647 h 450"/>
                  <a:gd name="T76" fmla="*/ 2147483647 w 622"/>
                  <a:gd name="T77" fmla="*/ 2147483647 h 450"/>
                  <a:gd name="T78" fmla="*/ 2147483647 w 622"/>
                  <a:gd name="T79" fmla="*/ 2147483647 h 450"/>
                  <a:gd name="T80" fmla="*/ 2147483647 w 622"/>
                  <a:gd name="T81" fmla="*/ 2147483647 h 450"/>
                  <a:gd name="T82" fmla="*/ 2147483647 w 622"/>
                  <a:gd name="T83" fmla="*/ 2147483647 h 450"/>
                  <a:gd name="T84" fmla="*/ 2140884705 w 622"/>
                  <a:gd name="T85" fmla="*/ 2147483647 h 450"/>
                  <a:gd name="T86" fmla="*/ 1934369647 w 622"/>
                  <a:gd name="T87" fmla="*/ 2147483647 h 45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622"/>
                  <a:gd name="T133" fmla="*/ 0 h 450"/>
                  <a:gd name="T134" fmla="*/ 622 w 622"/>
                  <a:gd name="T135" fmla="*/ 450 h 45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622" h="450">
                    <a:moveTo>
                      <a:pt x="275" y="450"/>
                    </a:moveTo>
                    <a:cubicBezTo>
                      <a:pt x="269" y="444"/>
                      <a:pt x="263" y="441"/>
                      <a:pt x="260" y="435"/>
                    </a:cubicBezTo>
                    <a:cubicBezTo>
                      <a:pt x="257" y="420"/>
                      <a:pt x="251" y="408"/>
                      <a:pt x="245" y="399"/>
                    </a:cubicBezTo>
                    <a:cubicBezTo>
                      <a:pt x="233" y="384"/>
                      <a:pt x="224" y="384"/>
                      <a:pt x="212" y="378"/>
                    </a:cubicBezTo>
                    <a:cubicBezTo>
                      <a:pt x="194" y="378"/>
                      <a:pt x="177" y="381"/>
                      <a:pt x="159" y="381"/>
                    </a:cubicBezTo>
                    <a:cubicBezTo>
                      <a:pt x="141" y="378"/>
                      <a:pt x="132" y="369"/>
                      <a:pt x="123" y="360"/>
                    </a:cubicBezTo>
                    <a:cubicBezTo>
                      <a:pt x="105" y="357"/>
                      <a:pt x="90" y="354"/>
                      <a:pt x="78" y="345"/>
                    </a:cubicBezTo>
                    <a:cubicBezTo>
                      <a:pt x="78" y="342"/>
                      <a:pt x="72" y="336"/>
                      <a:pt x="72" y="333"/>
                    </a:cubicBezTo>
                    <a:cubicBezTo>
                      <a:pt x="69" y="330"/>
                      <a:pt x="69" y="330"/>
                      <a:pt x="69" y="330"/>
                    </a:cubicBezTo>
                    <a:cubicBezTo>
                      <a:pt x="54" y="327"/>
                      <a:pt x="42" y="324"/>
                      <a:pt x="33" y="318"/>
                    </a:cubicBezTo>
                    <a:cubicBezTo>
                      <a:pt x="12" y="312"/>
                      <a:pt x="6" y="282"/>
                      <a:pt x="3" y="270"/>
                    </a:cubicBezTo>
                    <a:cubicBezTo>
                      <a:pt x="0" y="246"/>
                      <a:pt x="0" y="225"/>
                      <a:pt x="0" y="204"/>
                    </a:cubicBezTo>
                    <a:cubicBezTo>
                      <a:pt x="3" y="198"/>
                      <a:pt x="9" y="186"/>
                      <a:pt x="9" y="180"/>
                    </a:cubicBezTo>
                    <a:cubicBezTo>
                      <a:pt x="9" y="171"/>
                      <a:pt x="3" y="165"/>
                      <a:pt x="3" y="162"/>
                    </a:cubicBezTo>
                    <a:cubicBezTo>
                      <a:pt x="6" y="162"/>
                      <a:pt x="9" y="162"/>
                      <a:pt x="9" y="162"/>
                    </a:cubicBezTo>
                    <a:cubicBezTo>
                      <a:pt x="12" y="165"/>
                      <a:pt x="18" y="162"/>
                      <a:pt x="21" y="162"/>
                    </a:cubicBezTo>
                    <a:cubicBezTo>
                      <a:pt x="24" y="159"/>
                      <a:pt x="24" y="159"/>
                      <a:pt x="24" y="156"/>
                    </a:cubicBezTo>
                    <a:cubicBezTo>
                      <a:pt x="36" y="150"/>
                      <a:pt x="39" y="162"/>
                      <a:pt x="54" y="168"/>
                    </a:cubicBezTo>
                    <a:cubicBezTo>
                      <a:pt x="57" y="168"/>
                      <a:pt x="69" y="171"/>
                      <a:pt x="75" y="168"/>
                    </a:cubicBezTo>
                    <a:cubicBezTo>
                      <a:pt x="75" y="165"/>
                      <a:pt x="78" y="162"/>
                      <a:pt x="78" y="162"/>
                    </a:cubicBezTo>
                    <a:cubicBezTo>
                      <a:pt x="78" y="156"/>
                      <a:pt x="78" y="153"/>
                      <a:pt x="78" y="150"/>
                    </a:cubicBezTo>
                    <a:cubicBezTo>
                      <a:pt x="72" y="138"/>
                      <a:pt x="63" y="132"/>
                      <a:pt x="69" y="126"/>
                    </a:cubicBezTo>
                    <a:cubicBezTo>
                      <a:pt x="75" y="120"/>
                      <a:pt x="78" y="120"/>
                      <a:pt x="84" y="117"/>
                    </a:cubicBezTo>
                    <a:cubicBezTo>
                      <a:pt x="84" y="114"/>
                      <a:pt x="87" y="111"/>
                      <a:pt x="90" y="111"/>
                    </a:cubicBezTo>
                    <a:cubicBezTo>
                      <a:pt x="99" y="90"/>
                      <a:pt x="87" y="87"/>
                      <a:pt x="78" y="81"/>
                    </a:cubicBezTo>
                    <a:cubicBezTo>
                      <a:pt x="75" y="69"/>
                      <a:pt x="66" y="60"/>
                      <a:pt x="60" y="60"/>
                    </a:cubicBezTo>
                    <a:cubicBezTo>
                      <a:pt x="60" y="57"/>
                      <a:pt x="57" y="54"/>
                      <a:pt x="57" y="51"/>
                    </a:cubicBezTo>
                    <a:cubicBezTo>
                      <a:pt x="63" y="42"/>
                      <a:pt x="54" y="33"/>
                      <a:pt x="51" y="30"/>
                    </a:cubicBezTo>
                    <a:cubicBezTo>
                      <a:pt x="51" y="30"/>
                      <a:pt x="51" y="30"/>
                      <a:pt x="51" y="27"/>
                    </a:cubicBezTo>
                    <a:cubicBezTo>
                      <a:pt x="72" y="21"/>
                      <a:pt x="102" y="24"/>
                      <a:pt x="126" y="18"/>
                    </a:cubicBezTo>
                    <a:cubicBezTo>
                      <a:pt x="144" y="6"/>
                      <a:pt x="162" y="0"/>
                      <a:pt x="188" y="0"/>
                    </a:cubicBezTo>
                    <a:cubicBezTo>
                      <a:pt x="191" y="0"/>
                      <a:pt x="194" y="3"/>
                      <a:pt x="197" y="3"/>
                    </a:cubicBezTo>
                    <a:cubicBezTo>
                      <a:pt x="218" y="3"/>
                      <a:pt x="239" y="0"/>
                      <a:pt x="260" y="9"/>
                    </a:cubicBezTo>
                    <a:cubicBezTo>
                      <a:pt x="275" y="18"/>
                      <a:pt x="287" y="27"/>
                      <a:pt x="299" y="36"/>
                    </a:cubicBezTo>
                    <a:cubicBezTo>
                      <a:pt x="302" y="36"/>
                      <a:pt x="302" y="39"/>
                      <a:pt x="305" y="42"/>
                    </a:cubicBezTo>
                    <a:cubicBezTo>
                      <a:pt x="311" y="45"/>
                      <a:pt x="320" y="54"/>
                      <a:pt x="335" y="60"/>
                    </a:cubicBezTo>
                    <a:cubicBezTo>
                      <a:pt x="341" y="60"/>
                      <a:pt x="347" y="60"/>
                      <a:pt x="350" y="60"/>
                    </a:cubicBezTo>
                    <a:cubicBezTo>
                      <a:pt x="353" y="57"/>
                      <a:pt x="356" y="54"/>
                      <a:pt x="359" y="54"/>
                    </a:cubicBezTo>
                    <a:cubicBezTo>
                      <a:pt x="359" y="42"/>
                      <a:pt x="359" y="33"/>
                      <a:pt x="356" y="27"/>
                    </a:cubicBezTo>
                    <a:cubicBezTo>
                      <a:pt x="362" y="24"/>
                      <a:pt x="371" y="24"/>
                      <a:pt x="380" y="24"/>
                    </a:cubicBezTo>
                    <a:cubicBezTo>
                      <a:pt x="383" y="27"/>
                      <a:pt x="389" y="30"/>
                      <a:pt x="395" y="36"/>
                    </a:cubicBezTo>
                    <a:cubicBezTo>
                      <a:pt x="404" y="36"/>
                      <a:pt x="413" y="39"/>
                      <a:pt x="428" y="42"/>
                    </a:cubicBezTo>
                    <a:cubicBezTo>
                      <a:pt x="434" y="45"/>
                      <a:pt x="440" y="48"/>
                      <a:pt x="446" y="51"/>
                    </a:cubicBezTo>
                    <a:cubicBezTo>
                      <a:pt x="452" y="54"/>
                      <a:pt x="458" y="57"/>
                      <a:pt x="464" y="63"/>
                    </a:cubicBezTo>
                    <a:cubicBezTo>
                      <a:pt x="464" y="63"/>
                      <a:pt x="464" y="63"/>
                      <a:pt x="464" y="63"/>
                    </a:cubicBezTo>
                    <a:cubicBezTo>
                      <a:pt x="464" y="66"/>
                      <a:pt x="467" y="66"/>
                      <a:pt x="467" y="69"/>
                    </a:cubicBezTo>
                    <a:cubicBezTo>
                      <a:pt x="475" y="69"/>
                      <a:pt x="484" y="69"/>
                      <a:pt x="493" y="66"/>
                    </a:cubicBezTo>
                    <a:cubicBezTo>
                      <a:pt x="499" y="75"/>
                      <a:pt x="505" y="81"/>
                      <a:pt x="514" y="90"/>
                    </a:cubicBezTo>
                    <a:cubicBezTo>
                      <a:pt x="523" y="96"/>
                      <a:pt x="532" y="105"/>
                      <a:pt x="541" y="111"/>
                    </a:cubicBezTo>
                    <a:cubicBezTo>
                      <a:pt x="547" y="114"/>
                      <a:pt x="550" y="114"/>
                      <a:pt x="556" y="117"/>
                    </a:cubicBezTo>
                    <a:cubicBezTo>
                      <a:pt x="562" y="117"/>
                      <a:pt x="571" y="117"/>
                      <a:pt x="580" y="117"/>
                    </a:cubicBezTo>
                    <a:cubicBezTo>
                      <a:pt x="586" y="123"/>
                      <a:pt x="592" y="144"/>
                      <a:pt x="595" y="156"/>
                    </a:cubicBezTo>
                    <a:cubicBezTo>
                      <a:pt x="598" y="165"/>
                      <a:pt x="601" y="174"/>
                      <a:pt x="604" y="183"/>
                    </a:cubicBezTo>
                    <a:cubicBezTo>
                      <a:pt x="607" y="189"/>
                      <a:pt x="607" y="198"/>
                      <a:pt x="607" y="204"/>
                    </a:cubicBezTo>
                    <a:cubicBezTo>
                      <a:pt x="610" y="210"/>
                      <a:pt x="622" y="222"/>
                      <a:pt x="610" y="231"/>
                    </a:cubicBezTo>
                    <a:cubicBezTo>
                      <a:pt x="589" y="243"/>
                      <a:pt x="589" y="246"/>
                      <a:pt x="574" y="270"/>
                    </a:cubicBezTo>
                    <a:cubicBezTo>
                      <a:pt x="568" y="273"/>
                      <a:pt x="562" y="279"/>
                      <a:pt x="559" y="282"/>
                    </a:cubicBezTo>
                    <a:cubicBezTo>
                      <a:pt x="556" y="285"/>
                      <a:pt x="556" y="288"/>
                      <a:pt x="556" y="291"/>
                    </a:cubicBezTo>
                    <a:cubicBezTo>
                      <a:pt x="562" y="294"/>
                      <a:pt x="568" y="300"/>
                      <a:pt x="574" y="306"/>
                    </a:cubicBezTo>
                    <a:cubicBezTo>
                      <a:pt x="574" y="315"/>
                      <a:pt x="559" y="312"/>
                      <a:pt x="559" y="312"/>
                    </a:cubicBezTo>
                    <a:cubicBezTo>
                      <a:pt x="553" y="309"/>
                      <a:pt x="547" y="306"/>
                      <a:pt x="541" y="300"/>
                    </a:cubicBezTo>
                    <a:cubicBezTo>
                      <a:pt x="532" y="300"/>
                      <a:pt x="514" y="300"/>
                      <a:pt x="511" y="303"/>
                    </a:cubicBezTo>
                    <a:cubicBezTo>
                      <a:pt x="511" y="318"/>
                      <a:pt x="511" y="330"/>
                      <a:pt x="529" y="345"/>
                    </a:cubicBezTo>
                    <a:cubicBezTo>
                      <a:pt x="529" y="351"/>
                      <a:pt x="529" y="357"/>
                      <a:pt x="529" y="363"/>
                    </a:cubicBezTo>
                    <a:cubicBezTo>
                      <a:pt x="532" y="372"/>
                      <a:pt x="535" y="381"/>
                      <a:pt x="538" y="390"/>
                    </a:cubicBezTo>
                    <a:cubicBezTo>
                      <a:pt x="538" y="399"/>
                      <a:pt x="529" y="399"/>
                      <a:pt x="520" y="399"/>
                    </a:cubicBezTo>
                    <a:cubicBezTo>
                      <a:pt x="511" y="402"/>
                      <a:pt x="511" y="402"/>
                      <a:pt x="505" y="408"/>
                    </a:cubicBezTo>
                    <a:cubicBezTo>
                      <a:pt x="502" y="408"/>
                      <a:pt x="499" y="408"/>
                      <a:pt x="499" y="408"/>
                    </a:cubicBezTo>
                    <a:cubicBezTo>
                      <a:pt x="499" y="405"/>
                      <a:pt x="496" y="402"/>
                      <a:pt x="496" y="402"/>
                    </a:cubicBezTo>
                    <a:cubicBezTo>
                      <a:pt x="490" y="402"/>
                      <a:pt x="487" y="399"/>
                      <a:pt x="481" y="399"/>
                    </a:cubicBezTo>
                    <a:cubicBezTo>
                      <a:pt x="481" y="396"/>
                      <a:pt x="478" y="393"/>
                      <a:pt x="475" y="393"/>
                    </a:cubicBezTo>
                    <a:cubicBezTo>
                      <a:pt x="472" y="393"/>
                      <a:pt x="469" y="393"/>
                      <a:pt x="467" y="393"/>
                    </a:cubicBezTo>
                    <a:cubicBezTo>
                      <a:pt x="467" y="393"/>
                      <a:pt x="458" y="399"/>
                      <a:pt x="455" y="399"/>
                    </a:cubicBezTo>
                    <a:cubicBezTo>
                      <a:pt x="455" y="396"/>
                      <a:pt x="452" y="393"/>
                      <a:pt x="452" y="393"/>
                    </a:cubicBezTo>
                    <a:cubicBezTo>
                      <a:pt x="446" y="390"/>
                      <a:pt x="443" y="390"/>
                      <a:pt x="437" y="390"/>
                    </a:cubicBezTo>
                    <a:cubicBezTo>
                      <a:pt x="431" y="381"/>
                      <a:pt x="422" y="372"/>
                      <a:pt x="416" y="366"/>
                    </a:cubicBezTo>
                    <a:cubicBezTo>
                      <a:pt x="416" y="363"/>
                      <a:pt x="413" y="360"/>
                      <a:pt x="413" y="360"/>
                    </a:cubicBezTo>
                    <a:cubicBezTo>
                      <a:pt x="413" y="342"/>
                      <a:pt x="404" y="336"/>
                      <a:pt x="395" y="327"/>
                    </a:cubicBezTo>
                    <a:cubicBezTo>
                      <a:pt x="383" y="324"/>
                      <a:pt x="371" y="324"/>
                      <a:pt x="362" y="324"/>
                    </a:cubicBezTo>
                    <a:cubicBezTo>
                      <a:pt x="344" y="327"/>
                      <a:pt x="350" y="327"/>
                      <a:pt x="347" y="345"/>
                    </a:cubicBezTo>
                    <a:cubicBezTo>
                      <a:pt x="350" y="351"/>
                      <a:pt x="356" y="357"/>
                      <a:pt x="359" y="360"/>
                    </a:cubicBezTo>
                    <a:cubicBezTo>
                      <a:pt x="359" y="366"/>
                      <a:pt x="359" y="369"/>
                      <a:pt x="359" y="372"/>
                    </a:cubicBezTo>
                    <a:cubicBezTo>
                      <a:pt x="353" y="378"/>
                      <a:pt x="338" y="387"/>
                      <a:pt x="347" y="402"/>
                    </a:cubicBezTo>
                    <a:cubicBezTo>
                      <a:pt x="347" y="408"/>
                      <a:pt x="335" y="423"/>
                      <a:pt x="329" y="429"/>
                    </a:cubicBezTo>
                    <a:cubicBezTo>
                      <a:pt x="326" y="438"/>
                      <a:pt x="320" y="438"/>
                      <a:pt x="314" y="441"/>
                    </a:cubicBezTo>
                    <a:cubicBezTo>
                      <a:pt x="314" y="444"/>
                      <a:pt x="311" y="444"/>
                      <a:pt x="311" y="447"/>
                    </a:cubicBezTo>
                    <a:cubicBezTo>
                      <a:pt x="302" y="447"/>
                      <a:pt x="302" y="441"/>
                      <a:pt x="299" y="438"/>
                    </a:cubicBezTo>
                    <a:cubicBezTo>
                      <a:pt x="293" y="435"/>
                      <a:pt x="284" y="438"/>
                      <a:pt x="281" y="438"/>
                    </a:cubicBezTo>
                    <a:cubicBezTo>
                      <a:pt x="278" y="444"/>
                      <a:pt x="278" y="447"/>
                      <a:pt x="275" y="45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15" name="Freeform 114"/>
              <p:cNvSpPr>
                <a:spLocks/>
              </p:cNvSpPr>
              <p:nvPr/>
            </p:nvSpPr>
            <p:spPr bwMode="auto">
              <a:xfrm>
                <a:off x="4632757" y="2338467"/>
                <a:ext cx="1688591" cy="1315471"/>
              </a:xfrm>
              <a:custGeom>
                <a:avLst/>
                <a:gdLst>
                  <a:gd name="T0" fmla="*/ 2147483647 w 708"/>
                  <a:gd name="T1" fmla="*/ 2147483647 h 608"/>
                  <a:gd name="T2" fmla="*/ 2147483647 w 708"/>
                  <a:gd name="T3" fmla="*/ 2147483647 h 608"/>
                  <a:gd name="T4" fmla="*/ 2147483647 w 708"/>
                  <a:gd name="T5" fmla="*/ 2147483647 h 608"/>
                  <a:gd name="T6" fmla="*/ 2147483647 w 708"/>
                  <a:gd name="T7" fmla="*/ 2147483647 h 608"/>
                  <a:gd name="T8" fmla="*/ 2147483647 w 708"/>
                  <a:gd name="T9" fmla="*/ 2147483647 h 608"/>
                  <a:gd name="T10" fmla="*/ 2147483647 w 708"/>
                  <a:gd name="T11" fmla="*/ 2147483647 h 608"/>
                  <a:gd name="T12" fmla="*/ 2147483647 w 708"/>
                  <a:gd name="T13" fmla="*/ 2147483647 h 608"/>
                  <a:gd name="T14" fmla="*/ 2147483647 w 708"/>
                  <a:gd name="T15" fmla="*/ 2147483647 h 608"/>
                  <a:gd name="T16" fmla="*/ 2147483647 w 708"/>
                  <a:gd name="T17" fmla="*/ 2147483647 h 608"/>
                  <a:gd name="T18" fmla="*/ 2147483647 w 708"/>
                  <a:gd name="T19" fmla="*/ 2147483647 h 608"/>
                  <a:gd name="T20" fmla="*/ 2147483647 w 708"/>
                  <a:gd name="T21" fmla="*/ 2147483647 h 608"/>
                  <a:gd name="T22" fmla="*/ 2147483647 w 708"/>
                  <a:gd name="T23" fmla="*/ 2147483647 h 608"/>
                  <a:gd name="T24" fmla="*/ 2147483647 w 708"/>
                  <a:gd name="T25" fmla="*/ 2147483647 h 608"/>
                  <a:gd name="T26" fmla="*/ 2147483647 w 708"/>
                  <a:gd name="T27" fmla="*/ 2147483647 h 608"/>
                  <a:gd name="T28" fmla="*/ 2147483647 w 708"/>
                  <a:gd name="T29" fmla="*/ 2147483647 h 608"/>
                  <a:gd name="T30" fmla="*/ 2147483647 w 708"/>
                  <a:gd name="T31" fmla="*/ 2147483647 h 608"/>
                  <a:gd name="T32" fmla="*/ 2147483647 w 708"/>
                  <a:gd name="T33" fmla="*/ 2147483647 h 608"/>
                  <a:gd name="T34" fmla="*/ 2147483647 w 708"/>
                  <a:gd name="T35" fmla="*/ 2147483647 h 608"/>
                  <a:gd name="T36" fmla="*/ 2147483647 w 708"/>
                  <a:gd name="T37" fmla="*/ 2147483647 h 608"/>
                  <a:gd name="T38" fmla="*/ 2147483647 w 708"/>
                  <a:gd name="T39" fmla="*/ 2145736844 h 608"/>
                  <a:gd name="T40" fmla="*/ 2147483647 w 708"/>
                  <a:gd name="T41" fmla="*/ 1793863521 h 608"/>
                  <a:gd name="T42" fmla="*/ 2054428651 w 708"/>
                  <a:gd name="T43" fmla="*/ 1814561797 h 608"/>
                  <a:gd name="T44" fmla="*/ 1771772001 w 708"/>
                  <a:gd name="T45" fmla="*/ 1628277311 h 608"/>
                  <a:gd name="T46" fmla="*/ 1296082366 w 708"/>
                  <a:gd name="T47" fmla="*/ 1504085027 h 608"/>
                  <a:gd name="T48" fmla="*/ 1254717850 w 708"/>
                  <a:gd name="T49" fmla="*/ 1731768692 h 608"/>
                  <a:gd name="T50" fmla="*/ 779028543 w 708"/>
                  <a:gd name="T51" fmla="*/ 1504085027 h 608"/>
                  <a:gd name="T52" fmla="*/ 117198627 w 708"/>
                  <a:gd name="T53" fmla="*/ 1338498489 h 608"/>
                  <a:gd name="T54" fmla="*/ 55151833 w 708"/>
                  <a:gd name="T55" fmla="*/ 1172912279 h 608"/>
                  <a:gd name="T56" fmla="*/ 117198627 w 708"/>
                  <a:gd name="T57" fmla="*/ 903832061 h 608"/>
                  <a:gd name="T58" fmla="*/ 427429994 w 708"/>
                  <a:gd name="T59" fmla="*/ 745143526 h 608"/>
                  <a:gd name="T60" fmla="*/ 841075317 w 708"/>
                  <a:gd name="T61" fmla="*/ 476063144 h 608"/>
                  <a:gd name="T62" fmla="*/ 1089259787 w 708"/>
                  <a:gd name="T63" fmla="*/ 269080300 h 608"/>
                  <a:gd name="T64" fmla="*/ 1523584906 w 708"/>
                  <a:gd name="T65" fmla="*/ 103491422 h 608"/>
                  <a:gd name="T66" fmla="*/ 1606313938 w 708"/>
                  <a:gd name="T67" fmla="*/ 413968315 h 608"/>
                  <a:gd name="T68" fmla="*/ 1564949422 w 708"/>
                  <a:gd name="T69" fmla="*/ 683048533 h 608"/>
                  <a:gd name="T70" fmla="*/ 1730407486 w 708"/>
                  <a:gd name="T71" fmla="*/ 862435509 h 608"/>
                  <a:gd name="T72" fmla="*/ 1833818775 w 708"/>
                  <a:gd name="T73" fmla="*/ 1007323443 h 608"/>
                  <a:gd name="T74" fmla="*/ 2147483647 w 708"/>
                  <a:gd name="T75" fmla="*/ 965926890 h 608"/>
                  <a:gd name="T76" fmla="*/ 2095790542 w 708"/>
                  <a:gd name="T77" fmla="*/ 1297101936 h 608"/>
                  <a:gd name="T78" fmla="*/ 2147483647 w 708"/>
                  <a:gd name="T79" fmla="*/ 1483386751 h 608"/>
                  <a:gd name="T80" fmla="*/ 2147483647 w 708"/>
                  <a:gd name="T81" fmla="*/ 1773165245 h 608"/>
                  <a:gd name="T82" fmla="*/ 2147483647 w 708"/>
                  <a:gd name="T83" fmla="*/ 1586880759 h 608"/>
                  <a:gd name="T84" fmla="*/ 2147483647 w 708"/>
                  <a:gd name="T85" fmla="*/ 1628277311 h 608"/>
                  <a:gd name="T86" fmla="*/ 2147483647 w 708"/>
                  <a:gd name="T87" fmla="*/ 1483386751 h 608"/>
                  <a:gd name="T88" fmla="*/ 2147483647 w 708"/>
                  <a:gd name="T89" fmla="*/ 1752466969 h 608"/>
                  <a:gd name="T90" fmla="*/ 2147483647 w 708"/>
                  <a:gd name="T91" fmla="*/ 2147483647 h 608"/>
                  <a:gd name="T92" fmla="*/ 2147483647 w 708"/>
                  <a:gd name="T93" fmla="*/ 2147483647 h 608"/>
                  <a:gd name="T94" fmla="*/ 2147483647 w 708"/>
                  <a:gd name="T95" fmla="*/ 2147483647 h 608"/>
                  <a:gd name="T96" fmla="*/ 2147483647 w 708"/>
                  <a:gd name="T97" fmla="*/ 2147483647 h 608"/>
                  <a:gd name="T98" fmla="*/ 2147483647 w 708"/>
                  <a:gd name="T99" fmla="*/ 2147483647 h 608"/>
                  <a:gd name="T100" fmla="*/ 2147483647 w 708"/>
                  <a:gd name="T101" fmla="*/ 2147483647 h 608"/>
                  <a:gd name="T102" fmla="*/ 2147483647 w 708"/>
                  <a:gd name="T103" fmla="*/ 2147483647 h 608"/>
                  <a:gd name="T104" fmla="*/ 2147483647 w 708"/>
                  <a:gd name="T105" fmla="*/ 2147483647 h 608"/>
                  <a:gd name="T106" fmla="*/ 2147483647 w 708"/>
                  <a:gd name="T107" fmla="*/ 2147483647 h 608"/>
                  <a:gd name="T108" fmla="*/ 2147483647 w 708"/>
                  <a:gd name="T109" fmla="*/ 2147483647 h 608"/>
                  <a:gd name="T110" fmla="*/ 2147483647 w 708"/>
                  <a:gd name="T111" fmla="*/ 2147483647 h 608"/>
                  <a:gd name="T112" fmla="*/ 2147483647 w 708"/>
                  <a:gd name="T113" fmla="*/ 2147483647 h 608"/>
                  <a:gd name="T114" fmla="*/ 2147483647 w 708"/>
                  <a:gd name="T115" fmla="*/ 2147483647 h 608"/>
                  <a:gd name="T116" fmla="*/ 2147483647 w 708"/>
                  <a:gd name="T117" fmla="*/ 2147483647 h 60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708"/>
                  <a:gd name="T178" fmla="*/ 0 h 608"/>
                  <a:gd name="T179" fmla="*/ 708 w 708"/>
                  <a:gd name="T180" fmla="*/ 608 h 60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708" h="608">
                    <a:moveTo>
                      <a:pt x="657" y="476"/>
                    </a:moveTo>
                    <a:cubicBezTo>
                      <a:pt x="642" y="464"/>
                      <a:pt x="630" y="464"/>
                      <a:pt x="615" y="464"/>
                    </a:cubicBezTo>
                    <a:cubicBezTo>
                      <a:pt x="612" y="467"/>
                      <a:pt x="609" y="467"/>
                      <a:pt x="606" y="467"/>
                    </a:cubicBezTo>
                    <a:cubicBezTo>
                      <a:pt x="594" y="485"/>
                      <a:pt x="600" y="503"/>
                      <a:pt x="609" y="524"/>
                    </a:cubicBezTo>
                    <a:cubicBezTo>
                      <a:pt x="609" y="533"/>
                      <a:pt x="612" y="542"/>
                      <a:pt x="609" y="554"/>
                    </a:cubicBezTo>
                    <a:cubicBezTo>
                      <a:pt x="600" y="554"/>
                      <a:pt x="591" y="554"/>
                      <a:pt x="583" y="554"/>
                    </a:cubicBezTo>
                    <a:cubicBezTo>
                      <a:pt x="577" y="557"/>
                      <a:pt x="580" y="557"/>
                      <a:pt x="577" y="566"/>
                    </a:cubicBezTo>
                    <a:cubicBezTo>
                      <a:pt x="580" y="569"/>
                      <a:pt x="583" y="572"/>
                      <a:pt x="588" y="575"/>
                    </a:cubicBezTo>
                    <a:cubicBezTo>
                      <a:pt x="588" y="578"/>
                      <a:pt x="588" y="578"/>
                      <a:pt x="588" y="581"/>
                    </a:cubicBezTo>
                    <a:cubicBezTo>
                      <a:pt x="585" y="587"/>
                      <a:pt x="583" y="593"/>
                      <a:pt x="583" y="596"/>
                    </a:cubicBezTo>
                    <a:cubicBezTo>
                      <a:pt x="571" y="596"/>
                      <a:pt x="568" y="602"/>
                      <a:pt x="559" y="605"/>
                    </a:cubicBezTo>
                    <a:cubicBezTo>
                      <a:pt x="550" y="605"/>
                      <a:pt x="538" y="605"/>
                      <a:pt x="529" y="608"/>
                    </a:cubicBezTo>
                    <a:cubicBezTo>
                      <a:pt x="529" y="605"/>
                      <a:pt x="529" y="605"/>
                      <a:pt x="526" y="605"/>
                    </a:cubicBezTo>
                    <a:cubicBezTo>
                      <a:pt x="523" y="599"/>
                      <a:pt x="517" y="596"/>
                      <a:pt x="514" y="596"/>
                    </a:cubicBezTo>
                    <a:cubicBezTo>
                      <a:pt x="514" y="593"/>
                      <a:pt x="514" y="590"/>
                      <a:pt x="511" y="587"/>
                    </a:cubicBezTo>
                    <a:cubicBezTo>
                      <a:pt x="508" y="578"/>
                      <a:pt x="505" y="572"/>
                      <a:pt x="502" y="563"/>
                    </a:cubicBezTo>
                    <a:cubicBezTo>
                      <a:pt x="496" y="560"/>
                      <a:pt x="493" y="557"/>
                      <a:pt x="487" y="554"/>
                    </a:cubicBezTo>
                    <a:cubicBezTo>
                      <a:pt x="481" y="545"/>
                      <a:pt x="472" y="542"/>
                      <a:pt x="466" y="539"/>
                    </a:cubicBezTo>
                    <a:cubicBezTo>
                      <a:pt x="463" y="536"/>
                      <a:pt x="460" y="536"/>
                      <a:pt x="457" y="533"/>
                    </a:cubicBezTo>
                    <a:cubicBezTo>
                      <a:pt x="445" y="506"/>
                      <a:pt x="439" y="509"/>
                      <a:pt x="418" y="521"/>
                    </a:cubicBezTo>
                    <a:cubicBezTo>
                      <a:pt x="412" y="530"/>
                      <a:pt x="412" y="527"/>
                      <a:pt x="412" y="539"/>
                    </a:cubicBezTo>
                    <a:cubicBezTo>
                      <a:pt x="415" y="545"/>
                      <a:pt x="418" y="548"/>
                      <a:pt x="418" y="557"/>
                    </a:cubicBezTo>
                    <a:cubicBezTo>
                      <a:pt x="412" y="560"/>
                      <a:pt x="412" y="563"/>
                      <a:pt x="403" y="566"/>
                    </a:cubicBezTo>
                    <a:cubicBezTo>
                      <a:pt x="403" y="566"/>
                      <a:pt x="400" y="566"/>
                      <a:pt x="397" y="566"/>
                    </a:cubicBezTo>
                    <a:cubicBezTo>
                      <a:pt x="379" y="557"/>
                      <a:pt x="364" y="545"/>
                      <a:pt x="358" y="536"/>
                    </a:cubicBezTo>
                    <a:cubicBezTo>
                      <a:pt x="346" y="530"/>
                      <a:pt x="346" y="509"/>
                      <a:pt x="346" y="506"/>
                    </a:cubicBezTo>
                    <a:cubicBezTo>
                      <a:pt x="352" y="506"/>
                      <a:pt x="361" y="506"/>
                      <a:pt x="367" y="506"/>
                    </a:cubicBezTo>
                    <a:cubicBezTo>
                      <a:pt x="373" y="509"/>
                      <a:pt x="379" y="515"/>
                      <a:pt x="385" y="518"/>
                    </a:cubicBezTo>
                    <a:cubicBezTo>
                      <a:pt x="391" y="518"/>
                      <a:pt x="400" y="521"/>
                      <a:pt x="409" y="512"/>
                    </a:cubicBezTo>
                    <a:cubicBezTo>
                      <a:pt x="409" y="509"/>
                      <a:pt x="409" y="506"/>
                      <a:pt x="409" y="503"/>
                    </a:cubicBezTo>
                    <a:cubicBezTo>
                      <a:pt x="400" y="497"/>
                      <a:pt x="394" y="488"/>
                      <a:pt x="391" y="485"/>
                    </a:cubicBezTo>
                    <a:cubicBezTo>
                      <a:pt x="403" y="479"/>
                      <a:pt x="421" y="458"/>
                      <a:pt x="424" y="446"/>
                    </a:cubicBezTo>
                    <a:cubicBezTo>
                      <a:pt x="430" y="443"/>
                      <a:pt x="436" y="440"/>
                      <a:pt x="439" y="437"/>
                    </a:cubicBezTo>
                    <a:cubicBezTo>
                      <a:pt x="442" y="437"/>
                      <a:pt x="445" y="431"/>
                      <a:pt x="448" y="428"/>
                    </a:cubicBezTo>
                    <a:cubicBezTo>
                      <a:pt x="448" y="422"/>
                      <a:pt x="448" y="416"/>
                      <a:pt x="448" y="410"/>
                    </a:cubicBezTo>
                    <a:cubicBezTo>
                      <a:pt x="436" y="398"/>
                      <a:pt x="442" y="380"/>
                      <a:pt x="439" y="380"/>
                    </a:cubicBezTo>
                    <a:cubicBezTo>
                      <a:pt x="436" y="371"/>
                      <a:pt x="430" y="362"/>
                      <a:pt x="427" y="356"/>
                    </a:cubicBezTo>
                    <a:cubicBezTo>
                      <a:pt x="427" y="350"/>
                      <a:pt x="427" y="344"/>
                      <a:pt x="424" y="338"/>
                    </a:cubicBezTo>
                    <a:cubicBezTo>
                      <a:pt x="421" y="329"/>
                      <a:pt x="415" y="314"/>
                      <a:pt x="412" y="311"/>
                    </a:cubicBezTo>
                    <a:cubicBezTo>
                      <a:pt x="403" y="311"/>
                      <a:pt x="397" y="311"/>
                      <a:pt x="388" y="311"/>
                    </a:cubicBezTo>
                    <a:cubicBezTo>
                      <a:pt x="373" y="308"/>
                      <a:pt x="358" y="293"/>
                      <a:pt x="349" y="290"/>
                    </a:cubicBezTo>
                    <a:cubicBezTo>
                      <a:pt x="343" y="281"/>
                      <a:pt x="334" y="269"/>
                      <a:pt x="325" y="260"/>
                    </a:cubicBezTo>
                    <a:cubicBezTo>
                      <a:pt x="319" y="260"/>
                      <a:pt x="316" y="263"/>
                      <a:pt x="310" y="263"/>
                    </a:cubicBezTo>
                    <a:cubicBezTo>
                      <a:pt x="307" y="263"/>
                      <a:pt x="304" y="263"/>
                      <a:pt x="298" y="263"/>
                    </a:cubicBezTo>
                    <a:cubicBezTo>
                      <a:pt x="293" y="257"/>
                      <a:pt x="284" y="251"/>
                      <a:pt x="278" y="245"/>
                    </a:cubicBezTo>
                    <a:cubicBezTo>
                      <a:pt x="269" y="242"/>
                      <a:pt x="263" y="239"/>
                      <a:pt x="257" y="236"/>
                    </a:cubicBezTo>
                    <a:cubicBezTo>
                      <a:pt x="242" y="233"/>
                      <a:pt x="233" y="230"/>
                      <a:pt x="224" y="230"/>
                    </a:cubicBezTo>
                    <a:cubicBezTo>
                      <a:pt x="209" y="215"/>
                      <a:pt x="203" y="221"/>
                      <a:pt x="188" y="218"/>
                    </a:cubicBezTo>
                    <a:cubicBezTo>
                      <a:pt x="185" y="221"/>
                      <a:pt x="182" y="224"/>
                      <a:pt x="179" y="224"/>
                    </a:cubicBezTo>
                    <a:cubicBezTo>
                      <a:pt x="179" y="233"/>
                      <a:pt x="185" y="239"/>
                      <a:pt x="182" y="251"/>
                    </a:cubicBezTo>
                    <a:cubicBezTo>
                      <a:pt x="167" y="266"/>
                      <a:pt x="140" y="239"/>
                      <a:pt x="134" y="233"/>
                    </a:cubicBezTo>
                    <a:cubicBezTo>
                      <a:pt x="128" y="227"/>
                      <a:pt x="122" y="221"/>
                      <a:pt x="113" y="218"/>
                    </a:cubicBezTo>
                    <a:cubicBezTo>
                      <a:pt x="101" y="209"/>
                      <a:pt x="89" y="203"/>
                      <a:pt x="77" y="200"/>
                    </a:cubicBezTo>
                    <a:cubicBezTo>
                      <a:pt x="56" y="200"/>
                      <a:pt x="35" y="200"/>
                      <a:pt x="17" y="194"/>
                    </a:cubicBezTo>
                    <a:cubicBezTo>
                      <a:pt x="14" y="194"/>
                      <a:pt x="14" y="194"/>
                      <a:pt x="14" y="194"/>
                    </a:cubicBezTo>
                    <a:cubicBezTo>
                      <a:pt x="14" y="185"/>
                      <a:pt x="8" y="170"/>
                      <a:pt x="8" y="170"/>
                    </a:cubicBezTo>
                    <a:cubicBezTo>
                      <a:pt x="6" y="158"/>
                      <a:pt x="0" y="149"/>
                      <a:pt x="8" y="146"/>
                    </a:cubicBezTo>
                    <a:cubicBezTo>
                      <a:pt x="11" y="140"/>
                      <a:pt x="14" y="134"/>
                      <a:pt x="17" y="131"/>
                    </a:cubicBezTo>
                    <a:cubicBezTo>
                      <a:pt x="29" y="131"/>
                      <a:pt x="47" y="131"/>
                      <a:pt x="59" y="120"/>
                    </a:cubicBezTo>
                    <a:cubicBezTo>
                      <a:pt x="59" y="114"/>
                      <a:pt x="62" y="111"/>
                      <a:pt x="62" y="108"/>
                    </a:cubicBezTo>
                    <a:cubicBezTo>
                      <a:pt x="68" y="102"/>
                      <a:pt x="71" y="99"/>
                      <a:pt x="74" y="96"/>
                    </a:cubicBezTo>
                    <a:cubicBezTo>
                      <a:pt x="83" y="69"/>
                      <a:pt x="92" y="72"/>
                      <a:pt x="122" y="69"/>
                    </a:cubicBezTo>
                    <a:cubicBezTo>
                      <a:pt x="125" y="69"/>
                      <a:pt x="152" y="69"/>
                      <a:pt x="161" y="63"/>
                    </a:cubicBezTo>
                    <a:cubicBezTo>
                      <a:pt x="161" y="54"/>
                      <a:pt x="158" y="45"/>
                      <a:pt x="158" y="39"/>
                    </a:cubicBezTo>
                    <a:cubicBezTo>
                      <a:pt x="158" y="24"/>
                      <a:pt x="158" y="0"/>
                      <a:pt x="176" y="9"/>
                    </a:cubicBezTo>
                    <a:cubicBezTo>
                      <a:pt x="191" y="12"/>
                      <a:pt x="206" y="15"/>
                      <a:pt x="221" y="15"/>
                    </a:cubicBezTo>
                    <a:cubicBezTo>
                      <a:pt x="218" y="21"/>
                      <a:pt x="218" y="30"/>
                      <a:pt x="218" y="36"/>
                    </a:cubicBezTo>
                    <a:cubicBezTo>
                      <a:pt x="224" y="45"/>
                      <a:pt x="227" y="48"/>
                      <a:pt x="233" y="60"/>
                    </a:cubicBezTo>
                    <a:cubicBezTo>
                      <a:pt x="233" y="66"/>
                      <a:pt x="233" y="69"/>
                      <a:pt x="233" y="72"/>
                    </a:cubicBezTo>
                    <a:cubicBezTo>
                      <a:pt x="230" y="81"/>
                      <a:pt x="224" y="87"/>
                      <a:pt x="227" y="99"/>
                    </a:cubicBezTo>
                    <a:cubicBezTo>
                      <a:pt x="233" y="105"/>
                      <a:pt x="242" y="111"/>
                      <a:pt x="248" y="120"/>
                    </a:cubicBezTo>
                    <a:cubicBezTo>
                      <a:pt x="248" y="120"/>
                      <a:pt x="251" y="123"/>
                      <a:pt x="251" y="125"/>
                    </a:cubicBezTo>
                    <a:cubicBezTo>
                      <a:pt x="251" y="131"/>
                      <a:pt x="251" y="137"/>
                      <a:pt x="251" y="146"/>
                    </a:cubicBezTo>
                    <a:cubicBezTo>
                      <a:pt x="254" y="146"/>
                      <a:pt x="260" y="146"/>
                      <a:pt x="266" y="146"/>
                    </a:cubicBezTo>
                    <a:cubicBezTo>
                      <a:pt x="281" y="134"/>
                      <a:pt x="304" y="131"/>
                      <a:pt x="328" y="131"/>
                    </a:cubicBezTo>
                    <a:cubicBezTo>
                      <a:pt x="328" y="134"/>
                      <a:pt x="331" y="137"/>
                      <a:pt x="331" y="140"/>
                    </a:cubicBezTo>
                    <a:cubicBezTo>
                      <a:pt x="328" y="146"/>
                      <a:pt x="325" y="152"/>
                      <a:pt x="325" y="155"/>
                    </a:cubicBezTo>
                    <a:cubicBezTo>
                      <a:pt x="313" y="170"/>
                      <a:pt x="301" y="167"/>
                      <a:pt x="304" y="188"/>
                    </a:cubicBezTo>
                    <a:cubicBezTo>
                      <a:pt x="307" y="188"/>
                      <a:pt x="313" y="191"/>
                      <a:pt x="319" y="194"/>
                    </a:cubicBezTo>
                    <a:cubicBezTo>
                      <a:pt x="325" y="203"/>
                      <a:pt x="328" y="206"/>
                      <a:pt x="343" y="215"/>
                    </a:cubicBezTo>
                    <a:cubicBezTo>
                      <a:pt x="346" y="221"/>
                      <a:pt x="349" y="236"/>
                      <a:pt x="358" y="239"/>
                    </a:cubicBezTo>
                    <a:cubicBezTo>
                      <a:pt x="364" y="245"/>
                      <a:pt x="370" y="251"/>
                      <a:pt x="376" y="257"/>
                    </a:cubicBezTo>
                    <a:cubicBezTo>
                      <a:pt x="379" y="260"/>
                      <a:pt x="397" y="269"/>
                      <a:pt x="403" y="257"/>
                    </a:cubicBezTo>
                    <a:cubicBezTo>
                      <a:pt x="403" y="236"/>
                      <a:pt x="400" y="233"/>
                      <a:pt x="418" y="230"/>
                    </a:cubicBezTo>
                    <a:cubicBezTo>
                      <a:pt x="427" y="230"/>
                      <a:pt x="433" y="227"/>
                      <a:pt x="442" y="236"/>
                    </a:cubicBezTo>
                    <a:cubicBezTo>
                      <a:pt x="445" y="236"/>
                      <a:pt x="448" y="236"/>
                      <a:pt x="451" y="236"/>
                    </a:cubicBezTo>
                    <a:cubicBezTo>
                      <a:pt x="460" y="233"/>
                      <a:pt x="469" y="224"/>
                      <a:pt x="478" y="221"/>
                    </a:cubicBezTo>
                    <a:cubicBezTo>
                      <a:pt x="481" y="218"/>
                      <a:pt x="487" y="218"/>
                      <a:pt x="496" y="215"/>
                    </a:cubicBezTo>
                    <a:cubicBezTo>
                      <a:pt x="499" y="221"/>
                      <a:pt x="502" y="224"/>
                      <a:pt x="502" y="227"/>
                    </a:cubicBezTo>
                    <a:cubicBezTo>
                      <a:pt x="502" y="236"/>
                      <a:pt x="487" y="248"/>
                      <a:pt x="478" y="254"/>
                    </a:cubicBezTo>
                    <a:cubicBezTo>
                      <a:pt x="469" y="266"/>
                      <a:pt x="466" y="275"/>
                      <a:pt x="466" y="293"/>
                    </a:cubicBezTo>
                    <a:cubicBezTo>
                      <a:pt x="472" y="302"/>
                      <a:pt x="475" y="308"/>
                      <a:pt x="478" y="317"/>
                    </a:cubicBezTo>
                    <a:cubicBezTo>
                      <a:pt x="484" y="323"/>
                      <a:pt x="493" y="335"/>
                      <a:pt x="508" y="335"/>
                    </a:cubicBezTo>
                    <a:cubicBezTo>
                      <a:pt x="508" y="332"/>
                      <a:pt x="508" y="332"/>
                      <a:pt x="508" y="332"/>
                    </a:cubicBezTo>
                    <a:cubicBezTo>
                      <a:pt x="511" y="332"/>
                      <a:pt x="514" y="332"/>
                      <a:pt x="514" y="332"/>
                    </a:cubicBezTo>
                    <a:cubicBezTo>
                      <a:pt x="523" y="335"/>
                      <a:pt x="544" y="356"/>
                      <a:pt x="553" y="368"/>
                    </a:cubicBezTo>
                    <a:cubicBezTo>
                      <a:pt x="553" y="380"/>
                      <a:pt x="556" y="395"/>
                      <a:pt x="559" y="410"/>
                    </a:cubicBezTo>
                    <a:cubicBezTo>
                      <a:pt x="559" y="416"/>
                      <a:pt x="559" y="422"/>
                      <a:pt x="562" y="425"/>
                    </a:cubicBezTo>
                    <a:cubicBezTo>
                      <a:pt x="571" y="437"/>
                      <a:pt x="571" y="434"/>
                      <a:pt x="588" y="449"/>
                    </a:cubicBezTo>
                    <a:cubicBezTo>
                      <a:pt x="588" y="449"/>
                      <a:pt x="600" y="443"/>
                      <a:pt x="609" y="440"/>
                    </a:cubicBezTo>
                    <a:cubicBezTo>
                      <a:pt x="609" y="434"/>
                      <a:pt x="612" y="431"/>
                      <a:pt x="624" y="428"/>
                    </a:cubicBezTo>
                    <a:cubicBezTo>
                      <a:pt x="636" y="416"/>
                      <a:pt x="630" y="404"/>
                      <a:pt x="621" y="395"/>
                    </a:cubicBezTo>
                    <a:cubicBezTo>
                      <a:pt x="606" y="392"/>
                      <a:pt x="606" y="389"/>
                      <a:pt x="609" y="377"/>
                    </a:cubicBezTo>
                    <a:cubicBezTo>
                      <a:pt x="612" y="371"/>
                      <a:pt x="615" y="368"/>
                      <a:pt x="618" y="362"/>
                    </a:cubicBezTo>
                    <a:cubicBezTo>
                      <a:pt x="618" y="359"/>
                      <a:pt x="618" y="353"/>
                      <a:pt x="618" y="347"/>
                    </a:cubicBezTo>
                    <a:cubicBezTo>
                      <a:pt x="621" y="344"/>
                      <a:pt x="627" y="347"/>
                      <a:pt x="630" y="344"/>
                    </a:cubicBezTo>
                    <a:cubicBezTo>
                      <a:pt x="636" y="341"/>
                      <a:pt x="639" y="338"/>
                      <a:pt x="642" y="335"/>
                    </a:cubicBezTo>
                    <a:cubicBezTo>
                      <a:pt x="642" y="338"/>
                      <a:pt x="645" y="344"/>
                      <a:pt x="639" y="350"/>
                    </a:cubicBezTo>
                    <a:cubicBezTo>
                      <a:pt x="639" y="353"/>
                      <a:pt x="639" y="356"/>
                      <a:pt x="639" y="362"/>
                    </a:cubicBezTo>
                    <a:cubicBezTo>
                      <a:pt x="645" y="368"/>
                      <a:pt x="660" y="371"/>
                      <a:pt x="672" y="374"/>
                    </a:cubicBezTo>
                    <a:cubicBezTo>
                      <a:pt x="681" y="380"/>
                      <a:pt x="690" y="386"/>
                      <a:pt x="699" y="392"/>
                    </a:cubicBezTo>
                    <a:cubicBezTo>
                      <a:pt x="702" y="392"/>
                      <a:pt x="705" y="392"/>
                      <a:pt x="708" y="392"/>
                    </a:cubicBezTo>
                    <a:cubicBezTo>
                      <a:pt x="705" y="395"/>
                      <a:pt x="702" y="401"/>
                      <a:pt x="699" y="407"/>
                    </a:cubicBezTo>
                    <a:cubicBezTo>
                      <a:pt x="702" y="416"/>
                      <a:pt x="702" y="425"/>
                      <a:pt x="702" y="437"/>
                    </a:cubicBezTo>
                    <a:cubicBezTo>
                      <a:pt x="702" y="440"/>
                      <a:pt x="699" y="446"/>
                      <a:pt x="699" y="452"/>
                    </a:cubicBezTo>
                    <a:cubicBezTo>
                      <a:pt x="696" y="452"/>
                      <a:pt x="693" y="452"/>
                      <a:pt x="690" y="449"/>
                    </a:cubicBezTo>
                    <a:cubicBezTo>
                      <a:pt x="678" y="446"/>
                      <a:pt x="669" y="446"/>
                      <a:pt x="663" y="455"/>
                    </a:cubicBezTo>
                    <a:cubicBezTo>
                      <a:pt x="663" y="461"/>
                      <a:pt x="663" y="467"/>
                      <a:pt x="663" y="476"/>
                    </a:cubicBezTo>
                    <a:cubicBezTo>
                      <a:pt x="660" y="476"/>
                      <a:pt x="660" y="476"/>
                      <a:pt x="657" y="47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16" name="Freeform 17"/>
              <p:cNvSpPr>
                <a:spLocks/>
              </p:cNvSpPr>
              <p:nvPr/>
            </p:nvSpPr>
            <p:spPr bwMode="auto">
              <a:xfrm>
                <a:off x="6024295" y="2784368"/>
                <a:ext cx="584014" cy="961105"/>
              </a:xfrm>
              <a:custGeom>
                <a:avLst/>
                <a:gdLst>
                  <a:gd name="T0" fmla="*/ 1170724528 w 245"/>
                  <a:gd name="T1" fmla="*/ 2147483647 h 444"/>
                  <a:gd name="T2" fmla="*/ 943468308 w 245"/>
                  <a:gd name="T3" fmla="*/ 2147483647 h 444"/>
                  <a:gd name="T4" fmla="*/ 860828490 w 245"/>
                  <a:gd name="T5" fmla="*/ 2147483647 h 444"/>
                  <a:gd name="T6" fmla="*/ 612908870 w 245"/>
                  <a:gd name="T7" fmla="*/ 2147483647 h 444"/>
                  <a:gd name="T8" fmla="*/ 509611066 w 245"/>
                  <a:gd name="T9" fmla="*/ 2147483647 h 444"/>
                  <a:gd name="T10" fmla="*/ 323670736 w 245"/>
                  <a:gd name="T11" fmla="*/ 2147483647 h 444"/>
                  <a:gd name="T12" fmla="*/ 179051710 w 245"/>
                  <a:gd name="T13" fmla="*/ 2147483647 h 444"/>
                  <a:gd name="T14" fmla="*/ 34432612 w 245"/>
                  <a:gd name="T15" fmla="*/ 2147483647 h 444"/>
                  <a:gd name="T16" fmla="*/ 55093233 w 245"/>
                  <a:gd name="T17" fmla="*/ 2147483647 h 444"/>
                  <a:gd name="T18" fmla="*/ 13771996 w 245"/>
                  <a:gd name="T19" fmla="*/ 2147483647 h 444"/>
                  <a:gd name="T20" fmla="*/ 0 w 245"/>
                  <a:gd name="T21" fmla="*/ 2147483647 h 444"/>
                  <a:gd name="T22" fmla="*/ 199712320 w 245"/>
                  <a:gd name="T23" fmla="*/ 2147483647 h 444"/>
                  <a:gd name="T24" fmla="*/ 220372931 w 245"/>
                  <a:gd name="T25" fmla="*/ 2147483647 h 444"/>
                  <a:gd name="T26" fmla="*/ 179051710 w 245"/>
                  <a:gd name="T27" fmla="*/ 2071847386 h 444"/>
                  <a:gd name="T28" fmla="*/ 364992039 w 245"/>
                  <a:gd name="T29" fmla="*/ 1823226935 h 444"/>
                  <a:gd name="T30" fmla="*/ 509611066 w 245"/>
                  <a:gd name="T31" fmla="*/ 1906099543 h 444"/>
                  <a:gd name="T32" fmla="*/ 592248260 w 245"/>
                  <a:gd name="T33" fmla="*/ 1885380734 h 444"/>
                  <a:gd name="T34" fmla="*/ 592248260 w 245"/>
                  <a:gd name="T35" fmla="*/ 1740351699 h 444"/>
                  <a:gd name="T36" fmla="*/ 736867450 w 245"/>
                  <a:gd name="T37" fmla="*/ 1719632890 h 444"/>
                  <a:gd name="T38" fmla="*/ 819507268 w 245"/>
                  <a:gd name="T39" fmla="*/ 1719632890 h 444"/>
                  <a:gd name="T40" fmla="*/ 840167879 w 245"/>
                  <a:gd name="T41" fmla="*/ 1429574821 h 444"/>
                  <a:gd name="T42" fmla="*/ 881486476 w 245"/>
                  <a:gd name="T43" fmla="*/ 1325983076 h 444"/>
                  <a:gd name="T44" fmla="*/ 881486476 w 245"/>
                  <a:gd name="T45" fmla="*/ 1263826649 h 444"/>
                  <a:gd name="T46" fmla="*/ 819507268 w 245"/>
                  <a:gd name="T47" fmla="*/ 1243107840 h 444"/>
                  <a:gd name="T48" fmla="*/ 654230092 w 245"/>
                  <a:gd name="T49" fmla="*/ 1118797615 h 444"/>
                  <a:gd name="T50" fmla="*/ 426971247 w 245"/>
                  <a:gd name="T51" fmla="*/ 1056643816 h 444"/>
                  <a:gd name="T52" fmla="*/ 468289844 w 245"/>
                  <a:gd name="T53" fmla="*/ 973768580 h 444"/>
                  <a:gd name="T54" fmla="*/ 447629234 w 245"/>
                  <a:gd name="T55" fmla="*/ 849458355 h 444"/>
                  <a:gd name="T56" fmla="*/ 509611066 w 245"/>
                  <a:gd name="T57" fmla="*/ 766583119 h 444"/>
                  <a:gd name="T58" fmla="*/ 633569481 w 245"/>
                  <a:gd name="T59" fmla="*/ 787301928 h 444"/>
                  <a:gd name="T60" fmla="*/ 902147087 w 245"/>
                  <a:gd name="T61" fmla="*/ 787301928 h 444"/>
                  <a:gd name="T62" fmla="*/ 943468308 w 245"/>
                  <a:gd name="T63" fmla="*/ 497243695 h 444"/>
                  <a:gd name="T64" fmla="*/ 1046766113 w 245"/>
                  <a:gd name="T65" fmla="*/ 352214660 h 444"/>
                  <a:gd name="T66" fmla="*/ 1150066542 w 245"/>
                  <a:gd name="T67" fmla="*/ 207185543 h 444"/>
                  <a:gd name="T68" fmla="*/ 1253364347 w 245"/>
                  <a:gd name="T69" fmla="*/ 124310267 h 444"/>
                  <a:gd name="T70" fmla="*/ 1315343555 w 245"/>
                  <a:gd name="T71" fmla="*/ 41437628 h 444"/>
                  <a:gd name="T72" fmla="*/ 1377323090 w 245"/>
                  <a:gd name="T73" fmla="*/ 82872628 h 444"/>
                  <a:gd name="T74" fmla="*/ 1397983701 w 245"/>
                  <a:gd name="T75" fmla="*/ 82872628 h 444"/>
                  <a:gd name="T76" fmla="*/ 1480623520 w 245"/>
                  <a:gd name="T77" fmla="*/ 0 h 444"/>
                  <a:gd name="T78" fmla="*/ 1583921324 w 245"/>
                  <a:gd name="T79" fmla="*/ 103591458 h 444"/>
                  <a:gd name="T80" fmla="*/ 1542602727 w 245"/>
                  <a:gd name="T81" fmla="*/ 165747885 h 444"/>
                  <a:gd name="T82" fmla="*/ 1459962909 w 245"/>
                  <a:gd name="T83" fmla="*/ 435087268 h 444"/>
                  <a:gd name="T84" fmla="*/ 1480623520 w 245"/>
                  <a:gd name="T85" fmla="*/ 787301928 h 444"/>
                  <a:gd name="T86" fmla="*/ 1377323090 w 245"/>
                  <a:gd name="T87" fmla="*/ 1035925007 h 444"/>
                  <a:gd name="T88" fmla="*/ 1377323090 w 245"/>
                  <a:gd name="T89" fmla="*/ 1325983076 h 444"/>
                  <a:gd name="T90" fmla="*/ 1439304922 w 245"/>
                  <a:gd name="T91" fmla="*/ 1553885047 h 444"/>
                  <a:gd name="T92" fmla="*/ 1418644312 w 245"/>
                  <a:gd name="T93" fmla="*/ 1843945744 h 444"/>
                  <a:gd name="T94" fmla="*/ 1480623520 w 245"/>
                  <a:gd name="T95" fmla="*/ 1947537160 h 444"/>
                  <a:gd name="T96" fmla="*/ 1480623520 w 245"/>
                  <a:gd name="T97" fmla="*/ 2071847386 h 444"/>
                  <a:gd name="T98" fmla="*/ 1563263338 w 245"/>
                  <a:gd name="T99" fmla="*/ 2147483647 h 444"/>
                  <a:gd name="T100" fmla="*/ 1687221753 w 245"/>
                  <a:gd name="T101" fmla="*/ 2147483647 h 444"/>
                  <a:gd name="T102" fmla="*/ 1583921324 w 245"/>
                  <a:gd name="T103" fmla="*/ 2147483647 h 444"/>
                  <a:gd name="T104" fmla="*/ 1212045750 w 245"/>
                  <a:gd name="T105" fmla="*/ 2147483647 h 444"/>
                  <a:gd name="T106" fmla="*/ 1212045750 w 245"/>
                  <a:gd name="T107" fmla="*/ 2147483647 h 444"/>
                  <a:gd name="T108" fmla="*/ 1356664776 w 245"/>
                  <a:gd name="T109" fmla="*/ 2147483647 h 444"/>
                  <a:gd name="T110" fmla="*/ 1356664776 w 245"/>
                  <a:gd name="T111" fmla="*/ 2147483647 h 444"/>
                  <a:gd name="T112" fmla="*/ 1191385139 w 245"/>
                  <a:gd name="T113" fmla="*/ 2147483647 h 444"/>
                  <a:gd name="T114" fmla="*/ 1191385139 w 245"/>
                  <a:gd name="T115" fmla="*/ 2147483647 h 444"/>
                  <a:gd name="T116" fmla="*/ 1170724528 w 245"/>
                  <a:gd name="T117" fmla="*/ 2147483647 h 44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45"/>
                  <a:gd name="T178" fmla="*/ 0 h 444"/>
                  <a:gd name="T179" fmla="*/ 245 w 245"/>
                  <a:gd name="T180" fmla="*/ 444 h 44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45" h="444">
                    <a:moveTo>
                      <a:pt x="170" y="444"/>
                    </a:moveTo>
                    <a:cubicBezTo>
                      <a:pt x="152" y="438"/>
                      <a:pt x="149" y="429"/>
                      <a:pt x="137" y="420"/>
                    </a:cubicBezTo>
                    <a:cubicBezTo>
                      <a:pt x="134" y="420"/>
                      <a:pt x="131" y="417"/>
                      <a:pt x="125" y="417"/>
                    </a:cubicBezTo>
                    <a:cubicBezTo>
                      <a:pt x="113" y="417"/>
                      <a:pt x="98" y="417"/>
                      <a:pt x="89" y="423"/>
                    </a:cubicBezTo>
                    <a:cubicBezTo>
                      <a:pt x="83" y="423"/>
                      <a:pt x="74" y="414"/>
                      <a:pt x="74" y="411"/>
                    </a:cubicBezTo>
                    <a:cubicBezTo>
                      <a:pt x="56" y="411"/>
                      <a:pt x="53" y="402"/>
                      <a:pt x="47" y="399"/>
                    </a:cubicBezTo>
                    <a:cubicBezTo>
                      <a:pt x="41" y="399"/>
                      <a:pt x="35" y="399"/>
                      <a:pt x="26" y="399"/>
                    </a:cubicBezTo>
                    <a:cubicBezTo>
                      <a:pt x="20" y="396"/>
                      <a:pt x="11" y="393"/>
                      <a:pt x="5" y="393"/>
                    </a:cubicBezTo>
                    <a:cubicBezTo>
                      <a:pt x="5" y="384"/>
                      <a:pt x="8" y="384"/>
                      <a:pt x="8" y="378"/>
                    </a:cubicBezTo>
                    <a:cubicBezTo>
                      <a:pt x="8" y="366"/>
                      <a:pt x="8" y="363"/>
                      <a:pt x="2" y="363"/>
                    </a:cubicBezTo>
                    <a:cubicBezTo>
                      <a:pt x="0" y="357"/>
                      <a:pt x="0" y="354"/>
                      <a:pt x="0" y="351"/>
                    </a:cubicBezTo>
                    <a:cubicBezTo>
                      <a:pt x="8" y="351"/>
                      <a:pt x="17" y="351"/>
                      <a:pt x="29" y="351"/>
                    </a:cubicBezTo>
                    <a:cubicBezTo>
                      <a:pt x="35" y="339"/>
                      <a:pt x="32" y="327"/>
                      <a:pt x="32" y="315"/>
                    </a:cubicBezTo>
                    <a:cubicBezTo>
                      <a:pt x="29" y="309"/>
                      <a:pt x="26" y="306"/>
                      <a:pt x="26" y="300"/>
                    </a:cubicBezTo>
                    <a:cubicBezTo>
                      <a:pt x="20" y="267"/>
                      <a:pt x="20" y="264"/>
                      <a:pt x="53" y="264"/>
                    </a:cubicBezTo>
                    <a:cubicBezTo>
                      <a:pt x="59" y="267"/>
                      <a:pt x="68" y="270"/>
                      <a:pt x="74" y="276"/>
                    </a:cubicBezTo>
                    <a:cubicBezTo>
                      <a:pt x="77" y="276"/>
                      <a:pt x="83" y="276"/>
                      <a:pt x="86" y="273"/>
                    </a:cubicBezTo>
                    <a:cubicBezTo>
                      <a:pt x="86" y="264"/>
                      <a:pt x="86" y="258"/>
                      <a:pt x="86" y="252"/>
                    </a:cubicBezTo>
                    <a:cubicBezTo>
                      <a:pt x="86" y="246"/>
                      <a:pt x="101" y="243"/>
                      <a:pt x="107" y="249"/>
                    </a:cubicBezTo>
                    <a:cubicBezTo>
                      <a:pt x="110" y="249"/>
                      <a:pt x="116" y="249"/>
                      <a:pt x="119" y="249"/>
                    </a:cubicBezTo>
                    <a:cubicBezTo>
                      <a:pt x="125" y="237"/>
                      <a:pt x="125" y="216"/>
                      <a:pt x="122" y="207"/>
                    </a:cubicBezTo>
                    <a:cubicBezTo>
                      <a:pt x="122" y="198"/>
                      <a:pt x="125" y="198"/>
                      <a:pt x="128" y="192"/>
                    </a:cubicBezTo>
                    <a:cubicBezTo>
                      <a:pt x="128" y="189"/>
                      <a:pt x="128" y="186"/>
                      <a:pt x="128" y="183"/>
                    </a:cubicBezTo>
                    <a:cubicBezTo>
                      <a:pt x="125" y="180"/>
                      <a:pt x="122" y="180"/>
                      <a:pt x="119" y="180"/>
                    </a:cubicBezTo>
                    <a:cubicBezTo>
                      <a:pt x="110" y="174"/>
                      <a:pt x="98" y="168"/>
                      <a:pt x="95" y="162"/>
                    </a:cubicBezTo>
                    <a:cubicBezTo>
                      <a:pt x="83" y="162"/>
                      <a:pt x="68" y="156"/>
                      <a:pt x="62" y="153"/>
                    </a:cubicBezTo>
                    <a:cubicBezTo>
                      <a:pt x="62" y="144"/>
                      <a:pt x="65" y="144"/>
                      <a:pt x="68" y="141"/>
                    </a:cubicBezTo>
                    <a:cubicBezTo>
                      <a:pt x="65" y="132"/>
                      <a:pt x="65" y="126"/>
                      <a:pt x="65" y="123"/>
                    </a:cubicBezTo>
                    <a:cubicBezTo>
                      <a:pt x="68" y="123"/>
                      <a:pt x="71" y="114"/>
                      <a:pt x="74" y="111"/>
                    </a:cubicBezTo>
                    <a:cubicBezTo>
                      <a:pt x="77" y="111"/>
                      <a:pt x="83" y="108"/>
                      <a:pt x="92" y="114"/>
                    </a:cubicBezTo>
                    <a:cubicBezTo>
                      <a:pt x="104" y="114"/>
                      <a:pt x="116" y="114"/>
                      <a:pt x="131" y="114"/>
                    </a:cubicBezTo>
                    <a:cubicBezTo>
                      <a:pt x="143" y="102"/>
                      <a:pt x="137" y="81"/>
                      <a:pt x="137" y="72"/>
                    </a:cubicBezTo>
                    <a:cubicBezTo>
                      <a:pt x="137" y="60"/>
                      <a:pt x="146" y="60"/>
                      <a:pt x="152" y="51"/>
                    </a:cubicBezTo>
                    <a:cubicBezTo>
                      <a:pt x="155" y="45"/>
                      <a:pt x="161" y="36"/>
                      <a:pt x="167" y="30"/>
                    </a:cubicBezTo>
                    <a:cubicBezTo>
                      <a:pt x="170" y="27"/>
                      <a:pt x="176" y="21"/>
                      <a:pt x="182" y="18"/>
                    </a:cubicBezTo>
                    <a:cubicBezTo>
                      <a:pt x="185" y="15"/>
                      <a:pt x="188" y="9"/>
                      <a:pt x="191" y="6"/>
                    </a:cubicBezTo>
                    <a:cubicBezTo>
                      <a:pt x="194" y="9"/>
                      <a:pt x="197" y="9"/>
                      <a:pt x="200" y="12"/>
                    </a:cubicBezTo>
                    <a:cubicBezTo>
                      <a:pt x="203" y="12"/>
                      <a:pt x="203" y="12"/>
                      <a:pt x="203" y="12"/>
                    </a:cubicBezTo>
                    <a:cubicBezTo>
                      <a:pt x="209" y="9"/>
                      <a:pt x="212" y="3"/>
                      <a:pt x="215" y="0"/>
                    </a:cubicBezTo>
                    <a:cubicBezTo>
                      <a:pt x="218" y="0"/>
                      <a:pt x="230" y="0"/>
                      <a:pt x="230" y="15"/>
                    </a:cubicBezTo>
                    <a:cubicBezTo>
                      <a:pt x="230" y="18"/>
                      <a:pt x="227" y="21"/>
                      <a:pt x="224" y="24"/>
                    </a:cubicBezTo>
                    <a:cubicBezTo>
                      <a:pt x="224" y="39"/>
                      <a:pt x="224" y="51"/>
                      <a:pt x="212" y="63"/>
                    </a:cubicBezTo>
                    <a:cubicBezTo>
                      <a:pt x="206" y="78"/>
                      <a:pt x="212" y="96"/>
                      <a:pt x="215" y="114"/>
                    </a:cubicBezTo>
                    <a:cubicBezTo>
                      <a:pt x="215" y="126"/>
                      <a:pt x="206" y="141"/>
                      <a:pt x="200" y="150"/>
                    </a:cubicBezTo>
                    <a:cubicBezTo>
                      <a:pt x="200" y="162"/>
                      <a:pt x="200" y="177"/>
                      <a:pt x="200" y="192"/>
                    </a:cubicBezTo>
                    <a:cubicBezTo>
                      <a:pt x="203" y="198"/>
                      <a:pt x="209" y="213"/>
                      <a:pt x="209" y="225"/>
                    </a:cubicBezTo>
                    <a:cubicBezTo>
                      <a:pt x="203" y="240"/>
                      <a:pt x="200" y="252"/>
                      <a:pt x="206" y="267"/>
                    </a:cubicBezTo>
                    <a:cubicBezTo>
                      <a:pt x="209" y="273"/>
                      <a:pt x="212" y="273"/>
                      <a:pt x="215" y="282"/>
                    </a:cubicBezTo>
                    <a:cubicBezTo>
                      <a:pt x="215" y="288"/>
                      <a:pt x="215" y="294"/>
                      <a:pt x="215" y="300"/>
                    </a:cubicBezTo>
                    <a:cubicBezTo>
                      <a:pt x="218" y="309"/>
                      <a:pt x="224" y="318"/>
                      <a:pt x="227" y="330"/>
                    </a:cubicBezTo>
                    <a:cubicBezTo>
                      <a:pt x="233" y="339"/>
                      <a:pt x="242" y="348"/>
                      <a:pt x="245" y="366"/>
                    </a:cubicBezTo>
                    <a:cubicBezTo>
                      <a:pt x="239" y="363"/>
                      <a:pt x="236" y="363"/>
                      <a:pt x="230" y="363"/>
                    </a:cubicBezTo>
                    <a:cubicBezTo>
                      <a:pt x="218" y="363"/>
                      <a:pt x="182" y="360"/>
                      <a:pt x="176" y="366"/>
                    </a:cubicBezTo>
                    <a:cubicBezTo>
                      <a:pt x="176" y="366"/>
                      <a:pt x="176" y="369"/>
                      <a:pt x="176" y="372"/>
                    </a:cubicBezTo>
                    <a:cubicBezTo>
                      <a:pt x="182" y="375"/>
                      <a:pt x="188" y="381"/>
                      <a:pt x="197" y="387"/>
                    </a:cubicBezTo>
                    <a:cubicBezTo>
                      <a:pt x="197" y="390"/>
                      <a:pt x="197" y="393"/>
                      <a:pt x="197" y="396"/>
                    </a:cubicBezTo>
                    <a:cubicBezTo>
                      <a:pt x="185" y="399"/>
                      <a:pt x="182" y="405"/>
                      <a:pt x="173" y="414"/>
                    </a:cubicBezTo>
                    <a:cubicBezTo>
                      <a:pt x="173" y="423"/>
                      <a:pt x="173" y="432"/>
                      <a:pt x="173" y="444"/>
                    </a:cubicBezTo>
                    <a:cubicBezTo>
                      <a:pt x="173" y="444"/>
                      <a:pt x="173" y="444"/>
                      <a:pt x="170" y="44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17" name="Freeform 18"/>
              <p:cNvSpPr>
                <a:spLocks/>
              </p:cNvSpPr>
              <p:nvPr/>
            </p:nvSpPr>
            <p:spPr bwMode="auto">
              <a:xfrm>
                <a:off x="5859905" y="2817058"/>
                <a:ext cx="325893" cy="486437"/>
              </a:xfrm>
              <a:custGeom>
                <a:avLst/>
                <a:gdLst>
                  <a:gd name="T0" fmla="*/ 370336981 w 137"/>
                  <a:gd name="T1" fmla="*/ 1405330798 h 225"/>
                  <a:gd name="T2" fmla="*/ 329187782 w 137"/>
                  <a:gd name="T3" fmla="*/ 1301997371 h 225"/>
                  <a:gd name="T4" fmla="*/ 288038665 w 137"/>
                  <a:gd name="T5" fmla="*/ 991998075 h 225"/>
                  <a:gd name="T6" fmla="*/ 82298255 w 137"/>
                  <a:gd name="T7" fmla="*/ 764665258 h 225"/>
                  <a:gd name="T8" fmla="*/ 0 w 137"/>
                  <a:gd name="T9" fmla="*/ 723332019 h 225"/>
                  <a:gd name="T10" fmla="*/ 226316299 w 137"/>
                  <a:gd name="T11" fmla="*/ 661331995 h 225"/>
                  <a:gd name="T12" fmla="*/ 390910231 w 137"/>
                  <a:gd name="T13" fmla="*/ 578665516 h 225"/>
                  <a:gd name="T14" fmla="*/ 452635216 w 137"/>
                  <a:gd name="T15" fmla="*/ 516665657 h 225"/>
                  <a:gd name="T16" fmla="*/ 432059348 w 137"/>
                  <a:gd name="T17" fmla="*/ 371999319 h 225"/>
                  <a:gd name="T18" fmla="*/ 528072209 w 137"/>
                  <a:gd name="T19" fmla="*/ 185999660 h 225"/>
                  <a:gd name="T20" fmla="*/ 548648077 w 137"/>
                  <a:gd name="T21" fmla="*/ 82666499 h 225"/>
                  <a:gd name="T22" fmla="*/ 754388589 w 137"/>
                  <a:gd name="T23" fmla="*/ 61999880 h 225"/>
                  <a:gd name="T24" fmla="*/ 774964457 w 137"/>
                  <a:gd name="T25" fmla="*/ 123999759 h 225"/>
                  <a:gd name="T26" fmla="*/ 713242091 w 137"/>
                  <a:gd name="T27" fmla="*/ 247999519 h 225"/>
                  <a:gd name="T28" fmla="*/ 651519561 w 137"/>
                  <a:gd name="T29" fmla="*/ 495999037 h 225"/>
                  <a:gd name="T30" fmla="*/ 795537707 w 137"/>
                  <a:gd name="T31" fmla="*/ 516665657 h 225"/>
                  <a:gd name="T32" fmla="*/ 939558307 w 137"/>
                  <a:gd name="T33" fmla="*/ 619998756 h 225"/>
                  <a:gd name="T34" fmla="*/ 877835941 w 137"/>
                  <a:gd name="T35" fmla="*/ 723332019 h 225"/>
                  <a:gd name="T36" fmla="*/ 774964457 w 137"/>
                  <a:gd name="T37" fmla="*/ 826665117 h 225"/>
                  <a:gd name="T38" fmla="*/ 672092810 w 137"/>
                  <a:gd name="T39" fmla="*/ 971331455 h 225"/>
                  <a:gd name="T40" fmla="*/ 610370443 w 137"/>
                  <a:gd name="T41" fmla="*/ 1177997653 h 225"/>
                  <a:gd name="T42" fmla="*/ 651519561 w 137"/>
                  <a:gd name="T43" fmla="*/ 1219330892 h 225"/>
                  <a:gd name="T44" fmla="*/ 754388589 w 137"/>
                  <a:gd name="T45" fmla="*/ 1343330610 h 225"/>
                  <a:gd name="T46" fmla="*/ 733815340 w 137"/>
                  <a:gd name="T47" fmla="*/ 1405330798 h 225"/>
                  <a:gd name="T48" fmla="*/ 630943693 w 137"/>
                  <a:gd name="T49" fmla="*/ 1446664037 h 225"/>
                  <a:gd name="T50" fmla="*/ 370336981 w 137"/>
                  <a:gd name="T51" fmla="*/ 1405330798 h 22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37"/>
                  <a:gd name="T79" fmla="*/ 0 h 225"/>
                  <a:gd name="T80" fmla="*/ 137 w 137"/>
                  <a:gd name="T81" fmla="*/ 225 h 22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37" h="225">
                    <a:moveTo>
                      <a:pt x="54" y="204"/>
                    </a:moveTo>
                    <a:cubicBezTo>
                      <a:pt x="51" y="198"/>
                      <a:pt x="51" y="192"/>
                      <a:pt x="48" y="189"/>
                    </a:cubicBezTo>
                    <a:cubicBezTo>
                      <a:pt x="48" y="171"/>
                      <a:pt x="45" y="156"/>
                      <a:pt x="42" y="144"/>
                    </a:cubicBezTo>
                    <a:cubicBezTo>
                      <a:pt x="33" y="129"/>
                      <a:pt x="18" y="120"/>
                      <a:pt x="12" y="111"/>
                    </a:cubicBezTo>
                    <a:cubicBezTo>
                      <a:pt x="9" y="108"/>
                      <a:pt x="3" y="108"/>
                      <a:pt x="0" y="105"/>
                    </a:cubicBezTo>
                    <a:cubicBezTo>
                      <a:pt x="3" y="99"/>
                      <a:pt x="24" y="96"/>
                      <a:pt x="33" y="96"/>
                    </a:cubicBezTo>
                    <a:cubicBezTo>
                      <a:pt x="42" y="87"/>
                      <a:pt x="39" y="87"/>
                      <a:pt x="57" y="84"/>
                    </a:cubicBezTo>
                    <a:cubicBezTo>
                      <a:pt x="60" y="81"/>
                      <a:pt x="63" y="78"/>
                      <a:pt x="66" y="75"/>
                    </a:cubicBezTo>
                    <a:cubicBezTo>
                      <a:pt x="63" y="66"/>
                      <a:pt x="63" y="60"/>
                      <a:pt x="63" y="54"/>
                    </a:cubicBezTo>
                    <a:cubicBezTo>
                      <a:pt x="69" y="45"/>
                      <a:pt x="74" y="36"/>
                      <a:pt x="77" y="27"/>
                    </a:cubicBezTo>
                    <a:cubicBezTo>
                      <a:pt x="80" y="21"/>
                      <a:pt x="80" y="15"/>
                      <a:pt x="80" y="12"/>
                    </a:cubicBezTo>
                    <a:cubicBezTo>
                      <a:pt x="89" y="12"/>
                      <a:pt x="98" y="0"/>
                      <a:pt x="110" y="9"/>
                    </a:cubicBezTo>
                    <a:cubicBezTo>
                      <a:pt x="110" y="12"/>
                      <a:pt x="110" y="15"/>
                      <a:pt x="113" y="18"/>
                    </a:cubicBezTo>
                    <a:cubicBezTo>
                      <a:pt x="110" y="24"/>
                      <a:pt x="107" y="27"/>
                      <a:pt x="104" y="36"/>
                    </a:cubicBezTo>
                    <a:cubicBezTo>
                      <a:pt x="95" y="48"/>
                      <a:pt x="95" y="51"/>
                      <a:pt x="95" y="72"/>
                    </a:cubicBezTo>
                    <a:cubicBezTo>
                      <a:pt x="104" y="72"/>
                      <a:pt x="110" y="72"/>
                      <a:pt x="116" y="75"/>
                    </a:cubicBezTo>
                    <a:cubicBezTo>
                      <a:pt x="119" y="78"/>
                      <a:pt x="125" y="87"/>
                      <a:pt x="137" y="90"/>
                    </a:cubicBezTo>
                    <a:cubicBezTo>
                      <a:pt x="137" y="96"/>
                      <a:pt x="134" y="99"/>
                      <a:pt x="128" y="105"/>
                    </a:cubicBezTo>
                    <a:cubicBezTo>
                      <a:pt x="125" y="111"/>
                      <a:pt x="119" y="114"/>
                      <a:pt x="113" y="120"/>
                    </a:cubicBezTo>
                    <a:cubicBezTo>
                      <a:pt x="92" y="120"/>
                      <a:pt x="104" y="123"/>
                      <a:pt x="98" y="141"/>
                    </a:cubicBezTo>
                    <a:cubicBezTo>
                      <a:pt x="89" y="153"/>
                      <a:pt x="89" y="150"/>
                      <a:pt x="89" y="171"/>
                    </a:cubicBezTo>
                    <a:cubicBezTo>
                      <a:pt x="92" y="174"/>
                      <a:pt x="92" y="177"/>
                      <a:pt x="95" y="177"/>
                    </a:cubicBezTo>
                    <a:cubicBezTo>
                      <a:pt x="101" y="180"/>
                      <a:pt x="113" y="183"/>
                      <a:pt x="110" y="195"/>
                    </a:cubicBezTo>
                    <a:cubicBezTo>
                      <a:pt x="110" y="198"/>
                      <a:pt x="107" y="201"/>
                      <a:pt x="107" y="204"/>
                    </a:cubicBezTo>
                    <a:cubicBezTo>
                      <a:pt x="101" y="204"/>
                      <a:pt x="95" y="207"/>
                      <a:pt x="92" y="210"/>
                    </a:cubicBezTo>
                    <a:cubicBezTo>
                      <a:pt x="71" y="225"/>
                      <a:pt x="77" y="225"/>
                      <a:pt x="54" y="20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18" name="Freeform 5"/>
              <p:cNvSpPr>
                <a:spLocks/>
              </p:cNvSpPr>
              <p:nvPr/>
            </p:nvSpPr>
            <p:spPr bwMode="auto">
              <a:xfrm>
                <a:off x="6371818" y="5229626"/>
                <a:ext cx="299938" cy="214451"/>
              </a:xfrm>
              <a:custGeom>
                <a:avLst/>
                <a:gdLst>
                  <a:gd name="T0" fmla="*/ 309048863 w 126"/>
                  <a:gd name="T1" fmla="*/ 684667857 h 99"/>
                  <a:gd name="T2" fmla="*/ 103017175 w 126"/>
                  <a:gd name="T3" fmla="*/ 622425818 h 99"/>
                  <a:gd name="T4" fmla="*/ 41206864 w 126"/>
                  <a:gd name="T5" fmla="*/ 373455031 h 99"/>
                  <a:gd name="T6" fmla="*/ 144221408 w 126"/>
                  <a:gd name="T7" fmla="*/ 269717339 h 99"/>
                  <a:gd name="T8" fmla="*/ 185428302 w 126"/>
                  <a:gd name="T9" fmla="*/ 228221770 h 99"/>
                  <a:gd name="T10" fmla="*/ 185428302 w 126"/>
                  <a:gd name="T11" fmla="*/ 103737650 h 99"/>
                  <a:gd name="T12" fmla="*/ 206031729 w 126"/>
                  <a:gd name="T13" fmla="*/ 103737650 h 99"/>
                  <a:gd name="T14" fmla="*/ 329649669 w 126"/>
                  <a:gd name="T15" fmla="*/ 103737650 h 99"/>
                  <a:gd name="T16" fmla="*/ 494477165 w 126"/>
                  <a:gd name="T17" fmla="*/ 0 h 99"/>
                  <a:gd name="T18" fmla="*/ 782920062 w 126"/>
                  <a:gd name="T19" fmla="*/ 0 h 99"/>
                  <a:gd name="T20" fmla="*/ 865333769 w 126"/>
                  <a:gd name="T21" fmla="*/ 124484120 h 99"/>
                  <a:gd name="T22" fmla="*/ 782920062 w 126"/>
                  <a:gd name="T23" fmla="*/ 248970870 h 99"/>
                  <a:gd name="T24" fmla="*/ 679905385 w 126"/>
                  <a:gd name="T25" fmla="*/ 477192639 h 99"/>
                  <a:gd name="T26" fmla="*/ 370856604 w 126"/>
                  <a:gd name="T27" fmla="*/ 663921387 h 99"/>
                  <a:gd name="T28" fmla="*/ 309048863 w 126"/>
                  <a:gd name="T29" fmla="*/ 684667857 h 9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26"/>
                  <a:gd name="T46" fmla="*/ 0 h 99"/>
                  <a:gd name="T47" fmla="*/ 126 w 126"/>
                  <a:gd name="T48" fmla="*/ 99 h 9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26" h="99">
                    <a:moveTo>
                      <a:pt x="45" y="99"/>
                    </a:moveTo>
                    <a:cubicBezTo>
                      <a:pt x="36" y="96"/>
                      <a:pt x="27" y="93"/>
                      <a:pt x="15" y="90"/>
                    </a:cubicBezTo>
                    <a:cubicBezTo>
                      <a:pt x="0" y="78"/>
                      <a:pt x="6" y="69"/>
                      <a:pt x="6" y="54"/>
                    </a:cubicBezTo>
                    <a:cubicBezTo>
                      <a:pt x="9" y="39"/>
                      <a:pt x="6" y="42"/>
                      <a:pt x="21" y="39"/>
                    </a:cubicBezTo>
                    <a:cubicBezTo>
                      <a:pt x="21" y="36"/>
                      <a:pt x="24" y="33"/>
                      <a:pt x="27" y="33"/>
                    </a:cubicBezTo>
                    <a:cubicBezTo>
                      <a:pt x="27" y="27"/>
                      <a:pt x="27" y="21"/>
                      <a:pt x="27" y="15"/>
                    </a:cubicBezTo>
                    <a:cubicBezTo>
                      <a:pt x="27" y="15"/>
                      <a:pt x="27" y="15"/>
                      <a:pt x="30" y="15"/>
                    </a:cubicBezTo>
                    <a:cubicBezTo>
                      <a:pt x="33" y="15"/>
                      <a:pt x="39" y="18"/>
                      <a:pt x="48" y="15"/>
                    </a:cubicBezTo>
                    <a:cubicBezTo>
                      <a:pt x="57" y="12"/>
                      <a:pt x="63" y="6"/>
                      <a:pt x="72" y="0"/>
                    </a:cubicBezTo>
                    <a:cubicBezTo>
                      <a:pt x="87" y="0"/>
                      <a:pt x="99" y="0"/>
                      <a:pt x="114" y="0"/>
                    </a:cubicBezTo>
                    <a:cubicBezTo>
                      <a:pt x="117" y="0"/>
                      <a:pt x="126" y="6"/>
                      <a:pt x="126" y="18"/>
                    </a:cubicBezTo>
                    <a:cubicBezTo>
                      <a:pt x="123" y="24"/>
                      <a:pt x="120" y="30"/>
                      <a:pt x="114" y="36"/>
                    </a:cubicBezTo>
                    <a:cubicBezTo>
                      <a:pt x="108" y="45"/>
                      <a:pt x="102" y="54"/>
                      <a:pt x="99" y="69"/>
                    </a:cubicBezTo>
                    <a:cubicBezTo>
                      <a:pt x="84" y="78"/>
                      <a:pt x="69" y="87"/>
                      <a:pt x="54" y="96"/>
                    </a:cubicBezTo>
                    <a:cubicBezTo>
                      <a:pt x="51" y="99"/>
                      <a:pt x="48" y="99"/>
                      <a:pt x="45" y="9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19" name="Freeform 21"/>
              <p:cNvSpPr>
                <a:spLocks/>
              </p:cNvSpPr>
              <p:nvPr/>
            </p:nvSpPr>
            <p:spPr bwMode="auto">
              <a:xfrm>
                <a:off x="5773385" y="4076301"/>
                <a:ext cx="719563" cy="577970"/>
              </a:xfrm>
              <a:custGeom>
                <a:avLst/>
                <a:gdLst>
                  <a:gd name="T0" fmla="*/ 818771280 w 302"/>
                  <a:gd name="T1" fmla="*/ 1843999086 h 267"/>
                  <a:gd name="T2" fmla="*/ 660519571 w 302"/>
                  <a:gd name="T3" fmla="*/ 1719684408 h 267"/>
                  <a:gd name="T4" fmla="*/ 598597106 w 302"/>
                  <a:gd name="T5" fmla="*/ 1698965295 h 267"/>
                  <a:gd name="T6" fmla="*/ 371542822 w 302"/>
                  <a:gd name="T7" fmla="*/ 1761122634 h 267"/>
                  <a:gd name="T8" fmla="*/ 330261097 w 302"/>
                  <a:gd name="T9" fmla="*/ 1823279973 h 267"/>
                  <a:gd name="T10" fmla="*/ 350902001 w 302"/>
                  <a:gd name="T11" fmla="*/ 1698965295 h 267"/>
                  <a:gd name="T12" fmla="*/ 350902001 w 302"/>
                  <a:gd name="T13" fmla="*/ 1553931504 h 267"/>
                  <a:gd name="T14" fmla="*/ 206413544 w 302"/>
                  <a:gd name="T15" fmla="*/ 1491774165 h 267"/>
                  <a:gd name="T16" fmla="*/ 227054366 w 302"/>
                  <a:gd name="T17" fmla="*/ 1408897713 h 267"/>
                  <a:gd name="T18" fmla="*/ 288976831 w 302"/>
                  <a:gd name="T19" fmla="*/ 1222425367 h 267"/>
                  <a:gd name="T20" fmla="*/ 288976831 w 302"/>
                  <a:gd name="T21" fmla="*/ 1098110689 h 267"/>
                  <a:gd name="T22" fmla="*/ 247695187 w 302"/>
                  <a:gd name="T23" fmla="*/ 1056672463 h 267"/>
                  <a:gd name="T24" fmla="*/ 61925108 w 302"/>
                  <a:gd name="T25" fmla="*/ 1077391576 h 267"/>
                  <a:gd name="T26" fmla="*/ 20640827 w 302"/>
                  <a:gd name="T27" fmla="*/ 994515124 h 267"/>
                  <a:gd name="T28" fmla="*/ 0 w 302"/>
                  <a:gd name="T29" fmla="*/ 953076898 h 267"/>
                  <a:gd name="T30" fmla="*/ 206413544 w 302"/>
                  <a:gd name="T31" fmla="*/ 745888396 h 267"/>
                  <a:gd name="T32" fmla="*/ 247695187 w 302"/>
                  <a:gd name="T33" fmla="*/ 745888396 h 267"/>
                  <a:gd name="T34" fmla="*/ 495390375 w 302"/>
                  <a:gd name="T35" fmla="*/ 787326622 h 267"/>
                  <a:gd name="T36" fmla="*/ 536672018 w 302"/>
                  <a:gd name="T37" fmla="*/ 745888396 h 267"/>
                  <a:gd name="T38" fmla="*/ 557315463 w 302"/>
                  <a:gd name="T39" fmla="*/ 663011780 h 267"/>
                  <a:gd name="T40" fmla="*/ 598597106 w 302"/>
                  <a:gd name="T41" fmla="*/ 663011780 h 267"/>
                  <a:gd name="T42" fmla="*/ 860052923 w 302"/>
                  <a:gd name="T43" fmla="*/ 704450170 h 267"/>
                  <a:gd name="T44" fmla="*/ 901334566 w 302"/>
                  <a:gd name="T45" fmla="*/ 497258876 h 267"/>
                  <a:gd name="T46" fmla="*/ 681163016 w 302"/>
                  <a:gd name="T47" fmla="*/ 372944198 h 267"/>
                  <a:gd name="T48" fmla="*/ 736205370 w 302"/>
                  <a:gd name="T49" fmla="*/ 269348551 h 267"/>
                  <a:gd name="T50" fmla="*/ 798127835 w 302"/>
                  <a:gd name="T51" fmla="*/ 310786777 h 267"/>
                  <a:gd name="T52" fmla="*/ 942618833 w 302"/>
                  <a:gd name="T53" fmla="*/ 352225085 h 267"/>
                  <a:gd name="T54" fmla="*/ 1314161491 w 302"/>
                  <a:gd name="T55" fmla="*/ 103595606 h 267"/>
                  <a:gd name="T56" fmla="*/ 1479291015 w 302"/>
                  <a:gd name="T57" fmla="*/ 0 h 267"/>
                  <a:gd name="T58" fmla="*/ 1603138567 w 302"/>
                  <a:gd name="T59" fmla="*/ 227910325 h 267"/>
                  <a:gd name="T60" fmla="*/ 1809552030 w 302"/>
                  <a:gd name="T61" fmla="*/ 455820650 h 267"/>
                  <a:gd name="T62" fmla="*/ 1912758761 w 302"/>
                  <a:gd name="T63" fmla="*/ 476539763 h 267"/>
                  <a:gd name="T64" fmla="*/ 1912758761 w 302"/>
                  <a:gd name="T65" fmla="*/ 704450170 h 267"/>
                  <a:gd name="T66" fmla="*/ 1726986120 w 302"/>
                  <a:gd name="T67" fmla="*/ 911641300 h 267"/>
                  <a:gd name="T68" fmla="*/ 1809552030 w 302"/>
                  <a:gd name="T69" fmla="*/ 890922187 h 267"/>
                  <a:gd name="T70" fmla="*/ 1954040404 w 302"/>
                  <a:gd name="T71" fmla="*/ 890922187 h 267"/>
                  <a:gd name="T72" fmla="*/ 1954040404 w 302"/>
                  <a:gd name="T73" fmla="*/ 1118829802 h 267"/>
                  <a:gd name="T74" fmla="*/ 2036606314 w 302"/>
                  <a:gd name="T75" fmla="*/ 1222425367 h 267"/>
                  <a:gd name="T76" fmla="*/ 2077887957 w 302"/>
                  <a:gd name="T77" fmla="*/ 1305301819 h 267"/>
                  <a:gd name="T78" fmla="*/ 1892117939 w 302"/>
                  <a:gd name="T79" fmla="*/ 1367459158 h 267"/>
                  <a:gd name="T80" fmla="*/ 1644420211 w 302"/>
                  <a:gd name="T81" fmla="*/ 1574650617 h 267"/>
                  <a:gd name="T82" fmla="*/ 1438009372 w 302"/>
                  <a:gd name="T83" fmla="*/ 1616088843 h 267"/>
                  <a:gd name="T84" fmla="*/ 1334802313 w 302"/>
                  <a:gd name="T85" fmla="*/ 1574650617 h 267"/>
                  <a:gd name="T86" fmla="*/ 1169673117 w 302"/>
                  <a:gd name="T87" fmla="*/ 1491774165 h 267"/>
                  <a:gd name="T88" fmla="*/ 1128388850 w 302"/>
                  <a:gd name="T89" fmla="*/ 1533212391 h 267"/>
                  <a:gd name="T90" fmla="*/ 1128388850 w 302"/>
                  <a:gd name="T91" fmla="*/ 1595369730 h 267"/>
                  <a:gd name="T92" fmla="*/ 942618833 w 302"/>
                  <a:gd name="T93" fmla="*/ 1802560860 h 267"/>
                  <a:gd name="T94" fmla="*/ 818771280 w 302"/>
                  <a:gd name="T95" fmla="*/ 1843999086 h 26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02"/>
                  <a:gd name="T145" fmla="*/ 0 h 267"/>
                  <a:gd name="T146" fmla="*/ 302 w 302"/>
                  <a:gd name="T147" fmla="*/ 267 h 26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02" h="267">
                    <a:moveTo>
                      <a:pt x="119" y="267"/>
                    </a:moveTo>
                    <a:cubicBezTo>
                      <a:pt x="105" y="261"/>
                      <a:pt x="102" y="255"/>
                      <a:pt x="96" y="249"/>
                    </a:cubicBezTo>
                    <a:cubicBezTo>
                      <a:pt x="93" y="249"/>
                      <a:pt x="90" y="246"/>
                      <a:pt x="87" y="246"/>
                    </a:cubicBezTo>
                    <a:cubicBezTo>
                      <a:pt x="69" y="246"/>
                      <a:pt x="66" y="246"/>
                      <a:pt x="54" y="255"/>
                    </a:cubicBezTo>
                    <a:cubicBezTo>
                      <a:pt x="54" y="258"/>
                      <a:pt x="51" y="261"/>
                      <a:pt x="48" y="264"/>
                    </a:cubicBezTo>
                    <a:cubicBezTo>
                      <a:pt x="48" y="255"/>
                      <a:pt x="48" y="252"/>
                      <a:pt x="51" y="246"/>
                    </a:cubicBezTo>
                    <a:cubicBezTo>
                      <a:pt x="51" y="240"/>
                      <a:pt x="51" y="234"/>
                      <a:pt x="51" y="225"/>
                    </a:cubicBezTo>
                    <a:cubicBezTo>
                      <a:pt x="45" y="222"/>
                      <a:pt x="36" y="219"/>
                      <a:pt x="30" y="216"/>
                    </a:cubicBezTo>
                    <a:cubicBezTo>
                      <a:pt x="30" y="213"/>
                      <a:pt x="33" y="207"/>
                      <a:pt x="33" y="204"/>
                    </a:cubicBezTo>
                    <a:cubicBezTo>
                      <a:pt x="36" y="195"/>
                      <a:pt x="39" y="186"/>
                      <a:pt x="42" y="177"/>
                    </a:cubicBezTo>
                    <a:cubicBezTo>
                      <a:pt x="45" y="174"/>
                      <a:pt x="42" y="162"/>
                      <a:pt x="42" y="159"/>
                    </a:cubicBezTo>
                    <a:cubicBezTo>
                      <a:pt x="39" y="156"/>
                      <a:pt x="36" y="153"/>
                      <a:pt x="36" y="153"/>
                    </a:cubicBezTo>
                    <a:cubicBezTo>
                      <a:pt x="27" y="153"/>
                      <a:pt x="18" y="153"/>
                      <a:pt x="9" y="156"/>
                    </a:cubicBezTo>
                    <a:cubicBezTo>
                      <a:pt x="0" y="156"/>
                      <a:pt x="3" y="147"/>
                      <a:pt x="3" y="144"/>
                    </a:cubicBezTo>
                    <a:cubicBezTo>
                      <a:pt x="0" y="141"/>
                      <a:pt x="0" y="141"/>
                      <a:pt x="0" y="138"/>
                    </a:cubicBezTo>
                    <a:cubicBezTo>
                      <a:pt x="0" y="114"/>
                      <a:pt x="9" y="114"/>
                      <a:pt x="30" y="108"/>
                    </a:cubicBezTo>
                    <a:cubicBezTo>
                      <a:pt x="33" y="108"/>
                      <a:pt x="33" y="108"/>
                      <a:pt x="36" y="108"/>
                    </a:cubicBezTo>
                    <a:cubicBezTo>
                      <a:pt x="45" y="114"/>
                      <a:pt x="57" y="120"/>
                      <a:pt x="72" y="114"/>
                    </a:cubicBezTo>
                    <a:cubicBezTo>
                      <a:pt x="75" y="111"/>
                      <a:pt x="75" y="108"/>
                      <a:pt x="78" y="108"/>
                    </a:cubicBezTo>
                    <a:cubicBezTo>
                      <a:pt x="78" y="105"/>
                      <a:pt x="81" y="99"/>
                      <a:pt x="81" y="96"/>
                    </a:cubicBezTo>
                    <a:cubicBezTo>
                      <a:pt x="81" y="96"/>
                      <a:pt x="84" y="96"/>
                      <a:pt x="87" y="96"/>
                    </a:cubicBezTo>
                    <a:cubicBezTo>
                      <a:pt x="90" y="102"/>
                      <a:pt x="110" y="102"/>
                      <a:pt x="125" y="102"/>
                    </a:cubicBezTo>
                    <a:cubicBezTo>
                      <a:pt x="134" y="93"/>
                      <a:pt x="131" y="81"/>
                      <a:pt x="131" y="72"/>
                    </a:cubicBezTo>
                    <a:cubicBezTo>
                      <a:pt x="119" y="60"/>
                      <a:pt x="107" y="57"/>
                      <a:pt x="99" y="54"/>
                    </a:cubicBezTo>
                    <a:cubicBezTo>
                      <a:pt x="93" y="42"/>
                      <a:pt x="96" y="39"/>
                      <a:pt x="107" y="39"/>
                    </a:cubicBezTo>
                    <a:cubicBezTo>
                      <a:pt x="110" y="42"/>
                      <a:pt x="113" y="45"/>
                      <a:pt x="116" y="45"/>
                    </a:cubicBezTo>
                    <a:cubicBezTo>
                      <a:pt x="125" y="48"/>
                      <a:pt x="131" y="48"/>
                      <a:pt x="137" y="51"/>
                    </a:cubicBezTo>
                    <a:cubicBezTo>
                      <a:pt x="158" y="51"/>
                      <a:pt x="182" y="33"/>
                      <a:pt x="191" y="15"/>
                    </a:cubicBezTo>
                    <a:cubicBezTo>
                      <a:pt x="191" y="0"/>
                      <a:pt x="203" y="0"/>
                      <a:pt x="215" y="0"/>
                    </a:cubicBezTo>
                    <a:cubicBezTo>
                      <a:pt x="224" y="3"/>
                      <a:pt x="230" y="18"/>
                      <a:pt x="233" y="33"/>
                    </a:cubicBezTo>
                    <a:cubicBezTo>
                      <a:pt x="242" y="42"/>
                      <a:pt x="248" y="54"/>
                      <a:pt x="263" y="66"/>
                    </a:cubicBezTo>
                    <a:cubicBezTo>
                      <a:pt x="266" y="66"/>
                      <a:pt x="272" y="69"/>
                      <a:pt x="278" y="69"/>
                    </a:cubicBezTo>
                    <a:cubicBezTo>
                      <a:pt x="278" y="78"/>
                      <a:pt x="287" y="90"/>
                      <a:pt x="278" y="102"/>
                    </a:cubicBezTo>
                    <a:cubicBezTo>
                      <a:pt x="260" y="114"/>
                      <a:pt x="248" y="105"/>
                      <a:pt x="251" y="132"/>
                    </a:cubicBezTo>
                    <a:cubicBezTo>
                      <a:pt x="254" y="132"/>
                      <a:pt x="260" y="129"/>
                      <a:pt x="263" y="129"/>
                    </a:cubicBezTo>
                    <a:cubicBezTo>
                      <a:pt x="272" y="129"/>
                      <a:pt x="278" y="129"/>
                      <a:pt x="284" y="129"/>
                    </a:cubicBezTo>
                    <a:cubicBezTo>
                      <a:pt x="284" y="138"/>
                      <a:pt x="284" y="150"/>
                      <a:pt x="284" y="162"/>
                    </a:cubicBezTo>
                    <a:cubicBezTo>
                      <a:pt x="284" y="168"/>
                      <a:pt x="287" y="171"/>
                      <a:pt x="296" y="177"/>
                    </a:cubicBezTo>
                    <a:cubicBezTo>
                      <a:pt x="296" y="180"/>
                      <a:pt x="299" y="183"/>
                      <a:pt x="302" y="189"/>
                    </a:cubicBezTo>
                    <a:cubicBezTo>
                      <a:pt x="290" y="189"/>
                      <a:pt x="284" y="195"/>
                      <a:pt x="275" y="198"/>
                    </a:cubicBezTo>
                    <a:cubicBezTo>
                      <a:pt x="266" y="213"/>
                      <a:pt x="251" y="219"/>
                      <a:pt x="239" y="228"/>
                    </a:cubicBezTo>
                    <a:cubicBezTo>
                      <a:pt x="230" y="234"/>
                      <a:pt x="218" y="237"/>
                      <a:pt x="209" y="234"/>
                    </a:cubicBezTo>
                    <a:cubicBezTo>
                      <a:pt x="203" y="234"/>
                      <a:pt x="200" y="231"/>
                      <a:pt x="194" y="228"/>
                    </a:cubicBezTo>
                    <a:cubicBezTo>
                      <a:pt x="182" y="213"/>
                      <a:pt x="182" y="219"/>
                      <a:pt x="170" y="216"/>
                    </a:cubicBezTo>
                    <a:cubicBezTo>
                      <a:pt x="167" y="219"/>
                      <a:pt x="164" y="219"/>
                      <a:pt x="164" y="222"/>
                    </a:cubicBezTo>
                    <a:cubicBezTo>
                      <a:pt x="164" y="225"/>
                      <a:pt x="164" y="228"/>
                      <a:pt x="164" y="231"/>
                    </a:cubicBezTo>
                    <a:cubicBezTo>
                      <a:pt x="155" y="240"/>
                      <a:pt x="143" y="249"/>
                      <a:pt x="137" y="261"/>
                    </a:cubicBezTo>
                    <a:cubicBezTo>
                      <a:pt x="128" y="264"/>
                      <a:pt x="122" y="264"/>
                      <a:pt x="119" y="26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20" name="Freeform 22"/>
              <p:cNvSpPr>
                <a:spLocks/>
              </p:cNvSpPr>
              <p:nvPr/>
            </p:nvSpPr>
            <p:spPr bwMode="auto">
              <a:xfrm>
                <a:off x="5892351" y="4452901"/>
                <a:ext cx="882509" cy="601508"/>
              </a:xfrm>
              <a:custGeom>
                <a:avLst/>
                <a:gdLst>
                  <a:gd name="T0" fmla="*/ 1544454801 w 370"/>
                  <a:gd name="T1" fmla="*/ 1856119346 h 278"/>
                  <a:gd name="T2" fmla="*/ 1461715530 w 370"/>
                  <a:gd name="T3" fmla="*/ 1814718392 h 278"/>
                  <a:gd name="T4" fmla="*/ 1337606295 w 370"/>
                  <a:gd name="T5" fmla="*/ 1835417556 h 278"/>
                  <a:gd name="T6" fmla="*/ 944598694 w 370"/>
                  <a:gd name="T7" fmla="*/ 1835417556 h 278"/>
                  <a:gd name="T8" fmla="*/ 737753142 w 370"/>
                  <a:gd name="T9" fmla="*/ 1711217321 h 278"/>
                  <a:gd name="T10" fmla="*/ 696383506 w 370"/>
                  <a:gd name="T11" fmla="*/ 1649117203 h 278"/>
                  <a:gd name="T12" fmla="*/ 717067011 w 370"/>
                  <a:gd name="T13" fmla="*/ 1400714106 h 278"/>
                  <a:gd name="T14" fmla="*/ 634330201 w 370"/>
                  <a:gd name="T15" fmla="*/ 1317911870 h 278"/>
                  <a:gd name="T16" fmla="*/ 268901401 w 370"/>
                  <a:gd name="T17" fmla="*/ 1276513543 h 278"/>
                  <a:gd name="T18" fmla="*/ 351638129 w 370"/>
                  <a:gd name="T19" fmla="*/ 1173012472 h 278"/>
                  <a:gd name="T20" fmla="*/ 468851659 w 370"/>
                  <a:gd name="T21" fmla="*/ 910808181 h 278"/>
                  <a:gd name="T22" fmla="*/ 62053161 w 370"/>
                  <a:gd name="T23" fmla="*/ 765908783 h 278"/>
                  <a:gd name="T24" fmla="*/ 206845635 w 370"/>
                  <a:gd name="T25" fmla="*/ 538204685 h 278"/>
                  <a:gd name="T26" fmla="*/ 406798518 w 370"/>
                  <a:gd name="T27" fmla="*/ 662407547 h 278"/>
                  <a:gd name="T28" fmla="*/ 820489787 w 370"/>
                  <a:gd name="T29" fmla="*/ 414004450 h 278"/>
                  <a:gd name="T30" fmla="*/ 903229059 w 370"/>
                  <a:gd name="T31" fmla="*/ 331202460 h 278"/>
                  <a:gd name="T32" fmla="*/ 1110077237 w 370"/>
                  <a:gd name="T33" fmla="*/ 476104568 h 278"/>
                  <a:gd name="T34" fmla="*/ 1316922790 w 370"/>
                  <a:gd name="T35" fmla="*/ 414004450 h 278"/>
                  <a:gd name="T36" fmla="*/ 1544454801 w 370"/>
                  <a:gd name="T37" fmla="*/ 248403179 h 278"/>
                  <a:gd name="T38" fmla="*/ 1896092766 w 370"/>
                  <a:gd name="T39" fmla="*/ 124200276 h 278"/>
                  <a:gd name="T40" fmla="*/ 2147483647 w 370"/>
                  <a:gd name="T41" fmla="*/ 124200276 h 278"/>
                  <a:gd name="T42" fmla="*/ 2147483647 w 370"/>
                  <a:gd name="T43" fmla="*/ 393302660 h 278"/>
                  <a:gd name="T44" fmla="*/ 2147483647 w 370"/>
                  <a:gd name="T45" fmla="*/ 496803731 h 278"/>
                  <a:gd name="T46" fmla="*/ 2147483647 w 370"/>
                  <a:gd name="T47" fmla="*/ 641705757 h 278"/>
                  <a:gd name="T48" fmla="*/ 2147483647 w 370"/>
                  <a:gd name="T49" fmla="*/ 828008900 h 278"/>
                  <a:gd name="T50" fmla="*/ 2147483647 w 370"/>
                  <a:gd name="T51" fmla="*/ 910808181 h 278"/>
                  <a:gd name="T52" fmla="*/ 2147483647 w 370"/>
                  <a:gd name="T53" fmla="*/ 1173012472 h 278"/>
                  <a:gd name="T54" fmla="*/ 2123624449 w 370"/>
                  <a:gd name="T55" fmla="*/ 1442115060 h 278"/>
                  <a:gd name="T56" fmla="*/ 1958145906 w 370"/>
                  <a:gd name="T57" fmla="*/ 1587017086 h 278"/>
                  <a:gd name="T58" fmla="*/ 1937462401 w 370"/>
                  <a:gd name="T59" fmla="*/ 1607716249 h 278"/>
                  <a:gd name="T60" fmla="*/ 1834039625 w 370"/>
                  <a:gd name="T61" fmla="*/ 1711217321 h 278"/>
                  <a:gd name="T62" fmla="*/ 1606507942 w 370"/>
                  <a:gd name="T63" fmla="*/ 1918219464 h 27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370"/>
                  <a:gd name="T97" fmla="*/ 0 h 278"/>
                  <a:gd name="T98" fmla="*/ 370 w 370"/>
                  <a:gd name="T99" fmla="*/ 278 h 278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370" h="278">
                    <a:moveTo>
                      <a:pt x="224" y="278"/>
                    </a:moveTo>
                    <a:cubicBezTo>
                      <a:pt x="224" y="275"/>
                      <a:pt x="224" y="272"/>
                      <a:pt x="224" y="269"/>
                    </a:cubicBezTo>
                    <a:cubicBezTo>
                      <a:pt x="221" y="269"/>
                      <a:pt x="221" y="266"/>
                      <a:pt x="218" y="266"/>
                    </a:cubicBezTo>
                    <a:cubicBezTo>
                      <a:pt x="215" y="266"/>
                      <a:pt x="215" y="263"/>
                      <a:pt x="212" y="263"/>
                    </a:cubicBezTo>
                    <a:cubicBezTo>
                      <a:pt x="209" y="251"/>
                      <a:pt x="203" y="251"/>
                      <a:pt x="197" y="254"/>
                    </a:cubicBezTo>
                    <a:cubicBezTo>
                      <a:pt x="194" y="260"/>
                      <a:pt x="194" y="263"/>
                      <a:pt x="194" y="266"/>
                    </a:cubicBezTo>
                    <a:cubicBezTo>
                      <a:pt x="182" y="269"/>
                      <a:pt x="170" y="269"/>
                      <a:pt x="158" y="269"/>
                    </a:cubicBezTo>
                    <a:cubicBezTo>
                      <a:pt x="152" y="269"/>
                      <a:pt x="146" y="266"/>
                      <a:pt x="137" y="266"/>
                    </a:cubicBezTo>
                    <a:cubicBezTo>
                      <a:pt x="131" y="263"/>
                      <a:pt x="128" y="263"/>
                      <a:pt x="122" y="263"/>
                    </a:cubicBezTo>
                    <a:cubicBezTo>
                      <a:pt x="116" y="257"/>
                      <a:pt x="113" y="254"/>
                      <a:pt x="107" y="248"/>
                    </a:cubicBezTo>
                    <a:cubicBezTo>
                      <a:pt x="107" y="245"/>
                      <a:pt x="104" y="242"/>
                      <a:pt x="101" y="239"/>
                    </a:cubicBezTo>
                    <a:cubicBezTo>
                      <a:pt x="101" y="239"/>
                      <a:pt x="101" y="239"/>
                      <a:pt x="101" y="239"/>
                    </a:cubicBezTo>
                    <a:cubicBezTo>
                      <a:pt x="95" y="227"/>
                      <a:pt x="101" y="224"/>
                      <a:pt x="104" y="215"/>
                    </a:cubicBezTo>
                    <a:cubicBezTo>
                      <a:pt x="104" y="212"/>
                      <a:pt x="104" y="206"/>
                      <a:pt x="104" y="203"/>
                    </a:cubicBezTo>
                    <a:cubicBezTo>
                      <a:pt x="101" y="200"/>
                      <a:pt x="95" y="197"/>
                      <a:pt x="92" y="194"/>
                    </a:cubicBezTo>
                    <a:cubicBezTo>
                      <a:pt x="92" y="191"/>
                      <a:pt x="92" y="191"/>
                      <a:pt x="92" y="191"/>
                    </a:cubicBezTo>
                    <a:cubicBezTo>
                      <a:pt x="74" y="191"/>
                      <a:pt x="62" y="191"/>
                      <a:pt x="51" y="188"/>
                    </a:cubicBezTo>
                    <a:cubicBezTo>
                      <a:pt x="48" y="188"/>
                      <a:pt x="45" y="185"/>
                      <a:pt x="39" y="185"/>
                    </a:cubicBezTo>
                    <a:cubicBezTo>
                      <a:pt x="39" y="179"/>
                      <a:pt x="36" y="176"/>
                      <a:pt x="36" y="170"/>
                    </a:cubicBezTo>
                    <a:cubicBezTo>
                      <a:pt x="39" y="170"/>
                      <a:pt x="45" y="170"/>
                      <a:pt x="51" y="170"/>
                    </a:cubicBezTo>
                    <a:cubicBezTo>
                      <a:pt x="56" y="170"/>
                      <a:pt x="62" y="161"/>
                      <a:pt x="68" y="158"/>
                    </a:cubicBezTo>
                    <a:cubicBezTo>
                      <a:pt x="74" y="147"/>
                      <a:pt x="74" y="138"/>
                      <a:pt x="68" y="132"/>
                    </a:cubicBezTo>
                    <a:cubicBezTo>
                      <a:pt x="65" y="132"/>
                      <a:pt x="59" y="132"/>
                      <a:pt x="56" y="132"/>
                    </a:cubicBezTo>
                    <a:cubicBezTo>
                      <a:pt x="39" y="120"/>
                      <a:pt x="21" y="117"/>
                      <a:pt x="9" y="111"/>
                    </a:cubicBezTo>
                    <a:cubicBezTo>
                      <a:pt x="3" y="105"/>
                      <a:pt x="0" y="99"/>
                      <a:pt x="0" y="96"/>
                    </a:cubicBezTo>
                    <a:cubicBezTo>
                      <a:pt x="9" y="81"/>
                      <a:pt x="9" y="78"/>
                      <a:pt x="30" y="78"/>
                    </a:cubicBezTo>
                    <a:cubicBezTo>
                      <a:pt x="36" y="78"/>
                      <a:pt x="39" y="81"/>
                      <a:pt x="45" y="81"/>
                    </a:cubicBezTo>
                    <a:cubicBezTo>
                      <a:pt x="48" y="87"/>
                      <a:pt x="54" y="90"/>
                      <a:pt x="59" y="96"/>
                    </a:cubicBezTo>
                    <a:cubicBezTo>
                      <a:pt x="65" y="96"/>
                      <a:pt x="71" y="99"/>
                      <a:pt x="83" y="96"/>
                    </a:cubicBezTo>
                    <a:cubicBezTo>
                      <a:pt x="95" y="87"/>
                      <a:pt x="107" y="69"/>
                      <a:pt x="119" y="60"/>
                    </a:cubicBezTo>
                    <a:cubicBezTo>
                      <a:pt x="119" y="57"/>
                      <a:pt x="119" y="54"/>
                      <a:pt x="119" y="48"/>
                    </a:cubicBezTo>
                    <a:cubicBezTo>
                      <a:pt x="122" y="48"/>
                      <a:pt x="125" y="48"/>
                      <a:pt x="131" y="48"/>
                    </a:cubicBezTo>
                    <a:cubicBezTo>
                      <a:pt x="131" y="51"/>
                      <a:pt x="134" y="51"/>
                      <a:pt x="134" y="54"/>
                    </a:cubicBezTo>
                    <a:cubicBezTo>
                      <a:pt x="140" y="57"/>
                      <a:pt x="149" y="63"/>
                      <a:pt x="161" y="69"/>
                    </a:cubicBezTo>
                    <a:cubicBezTo>
                      <a:pt x="164" y="69"/>
                      <a:pt x="167" y="69"/>
                      <a:pt x="170" y="69"/>
                    </a:cubicBezTo>
                    <a:cubicBezTo>
                      <a:pt x="176" y="66"/>
                      <a:pt x="182" y="63"/>
                      <a:pt x="191" y="60"/>
                    </a:cubicBezTo>
                    <a:cubicBezTo>
                      <a:pt x="200" y="51"/>
                      <a:pt x="206" y="48"/>
                      <a:pt x="218" y="42"/>
                    </a:cubicBezTo>
                    <a:cubicBezTo>
                      <a:pt x="218" y="39"/>
                      <a:pt x="221" y="39"/>
                      <a:pt x="224" y="36"/>
                    </a:cubicBezTo>
                    <a:cubicBezTo>
                      <a:pt x="233" y="24"/>
                      <a:pt x="239" y="21"/>
                      <a:pt x="254" y="18"/>
                    </a:cubicBezTo>
                    <a:cubicBezTo>
                      <a:pt x="260" y="18"/>
                      <a:pt x="266" y="18"/>
                      <a:pt x="275" y="18"/>
                    </a:cubicBezTo>
                    <a:cubicBezTo>
                      <a:pt x="290" y="9"/>
                      <a:pt x="293" y="0"/>
                      <a:pt x="314" y="0"/>
                    </a:cubicBezTo>
                    <a:cubicBezTo>
                      <a:pt x="317" y="6"/>
                      <a:pt x="320" y="12"/>
                      <a:pt x="326" y="18"/>
                    </a:cubicBezTo>
                    <a:cubicBezTo>
                      <a:pt x="329" y="21"/>
                      <a:pt x="332" y="24"/>
                      <a:pt x="335" y="27"/>
                    </a:cubicBezTo>
                    <a:cubicBezTo>
                      <a:pt x="329" y="36"/>
                      <a:pt x="323" y="45"/>
                      <a:pt x="317" y="57"/>
                    </a:cubicBezTo>
                    <a:cubicBezTo>
                      <a:pt x="317" y="60"/>
                      <a:pt x="317" y="66"/>
                      <a:pt x="317" y="69"/>
                    </a:cubicBezTo>
                    <a:cubicBezTo>
                      <a:pt x="320" y="72"/>
                      <a:pt x="326" y="72"/>
                      <a:pt x="335" y="72"/>
                    </a:cubicBezTo>
                    <a:cubicBezTo>
                      <a:pt x="335" y="78"/>
                      <a:pt x="338" y="81"/>
                      <a:pt x="338" y="87"/>
                    </a:cubicBezTo>
                    <a:cubicBezTo>
                      <a:pt x="341" y="90"/>
                      <a:pt x="341" y="90"/>
                      <a:pt x="344" y="93"/>
                    </a:cubicBezTo>
                    <a:cubicBezTo>
                      <a:pt x="349" y="93"/>
                      <a:pt x="358" y="90"/>
                      <a:pt x="364" y="90"/>
                    </a:cubicBezTo>
                    <a:cubicBezTo>
                      <a:pt x="370" y="96"/>
                      <a:pt x="370" y="108"/>
                      <a:pt x="370" y="120"/>
                    </a:cubicBezTo>
                    <a:cubicBezTo>
                      <a:pt x="370" y="123"/>
                      <a:pt x="367" y="126"/>
                      <a:pt x="361" y="129"/>
                    </a:cubicBezTo>
                    <a:cubicBezTo>
                      <a:pt x="361" y="132"/>
                      <a:pt x="358" y="132"/>
                      <a:pt x="355" y="132"/>
                    </a:cubicBezTo>
                    <a:cubicBezTo>
                      <a:pt x="355" y="141"/>
                      <a:pt x="355" y="149"/>
                      <a:pt x="352" y="155"/>
                    </a:cubicBezTo>
                    <a:cubicBezTo>
                      <a:pt x="352" y="161"/>
                      <a:pt x="349" y="164"/>
                      <a:pt x="346" y="170"/>
                    </a:cubicBezTo>
                    <a:cubicBezTo>
                      <a:pt x="344" y="170"/>
                      <a:pt x="338" y="173"/>
                      <a:pt x="338" y="179"/>
                    </a:cubicBezTo>
                    <a:cubicBezTo>
                      <a:pt x="326" y="179"/>
                      <a:pt x="317" y="203"/>
                      <a:pt x="308" y="209"/>
                    </a:cubicBezTo>
                    <a:cubicBezTo>
                      <a:pt x="308" y="212"/>
                      <a:pt x="299" y="215"/>
                      <a:pt x="299" y="215"/>
                    </a:cubicBezTo>
                    <a:cubicBezTo>
                      <a:pt x="293" y="221"/>
                      <a:pt x="287" y="227"/>
                      <a:pt x="284" y="230"/>
                    </a:cubicBezTo>
                    <a:cubicBezTo>
                      <a:pt x="284" y="233"/>
                      <a:pt x="284" y="233"/>
                      <a:pt x="284" y="233"/>
                    </a:cubicBezTo>
                    <a:cubicBezTo>
                      <a:pt x="281" y="233"/>
                      <a:pt x="281" y="233"/>
                      <a:pt x="281" y="233"/>
                    </a:cubicBezTo>
                    <a:cubicBezTo>
                      <a:pt x="281" y="236"/>
                      <a:pt x="281" y="236"/>
                      <a:pt x="281" y="236"/>
                    </a:cubicBezTo>
                    <a:cubicBezTo>
                      <a:pt x="275" y="236"/>
                      <a:pt x="269" y="245"/>
                      <a:pt x="266" y="248"/>
                    </a:cubicBezTo>
                    <a:cubicBezTo>
                      <a:pt x="263" y="254"/>
                      <a:pt x="260" y="260"/>
                      <a:pt x="257" y="266"/>
                    </a:cubicBezTo>
                    <a:cubicBezTo>
                      <a:pt x="245" y="269"/>
                      <a:pt x="239" y="272"/>
                      <a:pt x="233" y="278"/>
                    </a:cubicBezTo>
                    <a:cubicBezTo>
                      <a:pt x="227" y="278"/>
                      <a:pt x="227" y="278"/>
                      <a:pt x="224" y="27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21" name="Freeform 23"/>
              <p:cNvSpPr>
                <a:spLocks/>
              </p:cNvSpPr>
              <p:nvPr/>
            </p:nvSpPr>
            <p:spPr bwMode="auto">
              <a:xfrm>
                <a:off x="6492227" y="4536588"/>
                <a:ext cx="925769" cy="653813"/>
              </a:xfrm>
              <a:custGeom>
                <a:avLst/>
                <a:gdLst>
                  <a:gd name="T0" fmla="*/ 186293656 w 388"/>
                  <a:gd name="T1" fmla="*/ 2086221875 h 302"/>
                  <a:gd name="T2" fmla="*/ 82797456 w 388"/>
                  <a:gd name="T3" fmla="*/ 1941152294 h 302"/>
                  <a:gd name="T4" fmla="*/ 0 w 388"/>
                  <a:gd name="T5" fmla="*/ 1796085341 h 302"/>
                  <a:gd name="T6" fmla="*/ 62098754 w 388"/>
                  <a:gd name="T7" fmla="*/ 1651015760 h 302"/>
                  <a:gd name="T8" fmla="*/ 227691060 w 388"/>
                  <a:gd name="T9" fmla="*/ 1360878897 h 302"/>
                  <a:gd name="T10" fmla="*/ 434686045 w 388"/>
                  <a:gd name="T11" fmla="*/ 1174363492 h 302"/>
                  <a:gd name="T12" fmla="*/ 634777878 w 388"/>
                  <a:gd name="T13" fmla="*/ 946399636 h 302"/>
                  <a:gd name="T14" fmla="*/ 717575478 w 388"/>
                  <a:gd name="T15" fmla="*/ 801330054 h 302"/>
                  <a:gd name="T16" fmla="*/ 841770318 w 388"/>
                  <a:gd name="T17" fmla="*/ 580273233 h 302"/>
                  <a:gd name="T18" fmla="*/ 841770318 w 388"/>
                  <a:gd name="T19" fmla="*/ 373033602 h 302"/>
                  <a:gd name="T20" fmla="*/ 903869052 w 388"/>
                  <a:gd name="T21" fmla="*/ 227963939 h 302"/>
                  <a:gd name="T22" fmla="*/ 945266456 w 388"/>
                  <a:gd name="T23" fmla="*/ 145069622 h 302"/>
                  <a:gd name="T24" fmla="*/ 1007365190 w 388"/>
                  <a:gd name="T25" fmla="*/ 145069622 h 302"/>
                  <a:gd name="T26" fmla="*/ 1131560030 w 388"/>
                  <a:gd name="T27" fmla="*/ 248688165 h 302"/>
                  <a:gd name="T28" fmla="*/ 1193658763 w 388"/>
                  <a:gd name="T29" fmla="*/ 248688165 h 302"/>
                  <a:gd name="T30" fmla="*/ 1235056168 w 388"/>
                  <a:gd name="T31" fmla="*/ 124345396 h 302"/>
                  <a:gd name="T32" fmla="*/ 1152261359 w 388"/>
                  <a:gd name="T33" fmla="*/ 41448462 h 302"/>
                  <a:gd name="T34" fmla="*/ 1172960061 w 388"/>
                  <a:gd name="T35" fmla="*/ 41448462 h 302"/>
                  <a:gd name="T36" fmla="*/ 1504147506 w 388"/>
                  <a:gd name="T37" fmla="*/ 41448462 h 302"/>
                  <a:gd name="T38" fmla="*/ 1731841111 w 388"/>
                  <a:gd name="T39" fmla="*/ 0 h 302"/>
                  <a:gd name="T40" fmla="*/ 1773238515 w 388"/>
                  <a:gd name="T41" fmla="*/ 0 h 302"/>
                  <a:gd name="T42" fmla="*/ 1773238515 w 388"/>
                  <a:gd name="T43" fmla="*/ 82896924 h 302"/>
                  <a:gd name="T44" fmla="*/ 1628344973 w 388"/>
                  <a:gd name="T45" fmla="*/ 248688165 h 302"/>
                  <a:gd name="T46" fmla="*/ 1793937218 w 388"/>
                  <a:gd name="T47" fmla="*/ 352309376 h 302"/>
                  <a:gd name="T48" fmla="*/ 2000932120 w 388"/>
                  <a:gd name="T49" fmla="*/ 269412390 h 302"/>
                  <a:gd name="T50" fmla="*/ 2063028227 w 388"/>
                  <a:gd name="T51" fmla="*/ 269412390 h 302"/>
                  <a:gd name="T52" fmla="*/ 2104428258 w 388"/>
                  <a:gd name="T53" fmla="*/ 290136616 h 302"/>
                  <a:gd name="T54" fmla="*/ 2147483647 w 388"/>
                  <a:gd name="T55" fmla="*/ 207239713 h 302"/>
                  <a:gd name="T56" fmla="*/ 2147483647 w 388"/>
                  <a:gd name="T57" fmla="*/ 331585068 h 302"/>
                  <a:gd name="T58" fmla="*/ 2147483647 w 388"/>
                  <a:gd name="T59" fmla="*/ 538824781 h 302"/>
                  <a:gd name="T60" fmla="*/ 2147483647 w 388"/>
                  <a:gd name="T61" fmla="*/ 580273233 h 302"/>
                  <a:gd name="T62" fmla="*/ 2147483647 w 388"/>
                  <a:gd name="T63" fmla="*/ 621721684 h 302"/>
                  <a:gd name="T64" fmla="*/ 2147483647 w 388"/>
                  <a:gd name="T65" fmla="*/ 780605828 h 302"/>
                  <a:gd name="T66" fmla="*/ 2147483647 w 388"/>
                  <a:gd name="T67" fmla="*/ 801330054 h 302"/>
                  <a:gd name="T68" fmla="*/ 2147483647 w 388"/>
                  <a:gd name="T69" fmla="*/ 987848087 h 302"/>
                  <a:gd name="T70" fmla="*/ 2125126961 w 388"/>
                  <a:gd name="T71" fmla="*/ 1029293911 h 302"/>
                  <a:gd name="T72" fmla="*/ 2063028227 w 388"/>
                  <a:gd name="T73" fmla="*/ 1008569685 h 302"/>
                  <a:gd name="T74" fmla="*/ 2000932120 w 388"/>
                  <a:gd name="T75" fmla="*/ 1008569685 h 302"/>
                  <a:gd name="T76" fmla="*/ 1959532089 w 388"/>
                  <a:gd name="T77" fmla="*/ 1050018137 h 302"/>
                  <a:gd name="T78" fmla="*/ 1918134685 w 388"/>
                  <a:gd name="T79" fmla="*/ 1050018137 h 302"/>
                  <a:gd name="T80" fmla="*/ 1793937218 w 388"/>
                  <a:gd name="T81" fmla="*/ 1008569685 h 302"/>
                  <a:gd name="T82" fmla="*/ 1793937218 w 388"/>
                  <a:gd name="T83" fmla="*/ 1112190814 h 302"/>
                  <a:gd name="T84" fmla="*/ 1690441080 w 388"/>
                  <a:gd name="T85" fmla="*/ 1195087718 h 302"/>
                  <a:gd name="T86" fmla="*/ 1607643644 w 388"/>
                  <a:gd name="T87" fmla="*/ 1132915040 h 302"/>
                  <a:gd name="T88" fmla="*/ 1586944942 w 388"/>
                  <a:gd name="T89" fmla="*/ 1132915040 h 302"/>
                  <a:gd name="T90" fmla="*/ 1483448804 w 388"/>
                  <a:gd name="T91" fmla="*/ 1050018137 h 302"/>
                  <a:gd name="T92" fmla="*/ 1442051399 w 388"/>
                  <a:gd name="T93" fmla="*/ 1050018137 h 302"/>
                  <a:gd name="T94" fmla="*/ 1400651368 w 388"/>
                  <a:gd name="T95" fmla="*/ 1132915040 h 302"/>
                  <a:gd name="T96" fmla="*/ 1317853604 w 388"/>
                  <a:gd name="T97" fmla="*/ 1257260396 h 302"/>
                  <a:gd name="T98" fmla="*/ 1193658763 w 388"/>
                  <a:gd name="T99" fmla="*/ 1360878897 h 302"/>
                  <a:gd name="T100" fmla="*/ 1110861328 w 388"/>
                  <a:gd name="T101" fmla="*/ 1381603451 h 302"/>
                  <a:gd name="T102" fmla="*/ 1048762594 w 388"/>
                  <a:gd name="T103" fmla="*/ 1443776129 h 302"/>
                  <a:gd name="T104" fmla="*/ 883170350 w 388"/>
                  <a:gd name="T105" fmla="*/ 1485224581 h 302"/>
                  <a:gd name="T106" fmla="*/ 862469021 w 388"/>
                  <a:gd name="T107" fmla="*/ 1526673033 h 302"/>
                  <a:gd name="T108" fmla="*/ 821071616 w 388"/>
                  <a:gd name="T109" fmla="*/ 1526673033 h 302"/>
                  <a:gd name="T110" fmla="*/ 676175283 w 388"/>
                  <a:gd name="T111" fmla="*/ 1526673033 h 302"/>
                  <a:gd name="T112" fmla="*/ 476083450 w 388"/>
                  <a:gd name="T113" fmla="*/ 1588845710 h 302"/>
                  <a:gd name="T114" fmla="*/ 269091092 w 388"/>
                  <a:gd name="T115" fmla="*/ 1671739985 h 302"/>
                  <a:gd name="T116" fmla="*/ 248392389 w 388"/>
                  <a:gd name="T117" fmla="*/ 1754636889 h 302"/>
                  <a:gd name="T118" fmla="*/ 165594913 w 388"/>
                  <a:gd name="T119" fmla="*/ 1878982244 h 302"/>
                  <a:gd name="T120" fmla="*/ 289789794 w 388"/>
                  <a:gd name="T121" fmla="*/ 2044773423 h 302"/>
                  <a:gd name="T122" fmla="*/ 186293656 w 388"/>
                  <a:gd name="T123" fmla="*/ 2086221875 h 30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88"/>
                  <a:gd name="T187" fmla="*/ 0 h 302"/>
                  <a:gd name="T188" fmla="*/ 388 w 388"/>
                  <a:gd name="T189" fmla="*/ 302 h 30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88" h="302">
                    <a:moveTo>
                      <a:pt x="27" y="302"/>
                    </a:moveTo>
                    <a:cubicBezTo>
                      <a:pt x="15" y="293"/>
                      <a:pt x="15" y="287"/>
                      <a:pt x="12" y="281"/>
                    </a:cubicBezTo>
                    <a:cubicBezTo>
                      <a:pt x="9" y="272"/>
                      <a:pt x="3" y="266"/>
                      <a:pt x="0" y="260"/>
                    </a:cubicBezTo>
                    <a:cubicBezTo>
                      <a:pt x="0" y="245"/>
                      <a:pt x="0" y="248"/>
                      <a:pt x="9" y="239"/>
                    </a:cubicBezTo>
                    <a:cubicBezTo>
                      <a:pt x="12" y="215"/>
                      <a:pt x="12" y="212"/>
                      <a:pt x="33" y="197"/>
                    </a:cubicBezTo>
                    <a:cubicBezTo>
                      <a:pt x="42" y="188"/>
                      <a:pt x="51" y="179"/>
                      <a:pt x="63" y="170"/>
                    </a:cubicBezTo>
                    <a:cubicBezTo>
                      <a:pt x="72" y="158"/>
                      <a:pt x="81" y="149"/>
                      <a:pt x="92" y="137"/>
                    </a:cubicBezTo>
                    <a:cubicBezTo>
                      <a:pt x="101" y="131"/>
                      <a:pt x="101" y="125"/>
                      <a:pt x="104" y="116"/>
                    </a:cubicBezTo>
                    <a:cubicBezTo>
                      <a:pt x="104" y="93"/>
                      <a:pt x="110" y="99"/>
                      <a:pt x="122" y="84"/>
                    </a:cubicBezTo>
                    <a:cubicBezTo>
                      <a:pt x="122" y="75"/>
                      <a:pt x="122" y="63"/>
                      <a:pt x="122" y="54"/>
                    </a:cubicBezTo>
                    <a:cubicBezTo>
                      <a:pt x="128" y="48"/>
                      <a:pt x="128" y="39"/>
                      <a:pt x="131" y="33"/>
                    </a:cubicBezTo>
                    <a:cubicBezTo>
                      <a:pt x="131" y="27"/>
                      <a:pt x="134" y="24"/>
                      <a:pt x="137" y="21"/>
                    </a:cubicBezTo>
                    <a:cubicBezTo>
                      <a:pt x="140" y="21"/>
                      <a:pt x="143" y="21"/>
                      <a:pt x="146" y="21"/>
                    </a:cubicBezTo>
                    <a:cubicBezTo>
                      <a:pt x="152" y="24"/>
                      <a:pt x="158" y="30"/>
                      <a:pt x="164" y="36"/>
                    </a:cubicBezTo>
                    <a:cubicBezTo>
                      <a:pt x="167" y="36"/>
                      <a:pt x="170" y="36"/>
                      <a:pt x="173" y="36"/>
                    </a:cubicBezTo>
                    <a:cubicBezTo>
                      <a:pt x="179" y="30"/>
                      <a:pt x="179" y="21"/>
                      <a:pt x="179" y="18"/>
                    </a:cubicBezTo>
                    <a:cubicBezTo>
                      <a:pt x="176" y="15"/>
                      <a:pt x="170" y="9"/>
                      <a:pt x="167" y="6"/>
                    </a:cubicBezTo>
                    <a:cubicBezTo>
                      <a:pt x="170" y="6"/>
                      <a:pt x="170" y="6"/>
                      <a:pt x="170" y="6"/>
                    </a:cubicBezTo>
                    <a:cubicBezTo>
                      <a:pt x="188" y="6"/>
                      <a:pt x="203" y="6"/>
                      <a:pt x="218" y="6"/>
                    </a:cubicBezTo>
                    <a:cubicBezTo>
                      <a:pt x="224" y="9"/>
                      <a:pt x="242" y="9"/>
                      <a:pt x="251" y="0"/>
                    </a:cubicBezTo>
                    <a:cubicBezTo>
                      <a:pt x="254" y="0"/>
                      <a:pt x="254" y="0"/>
                      <a:pt x="257" y="0"/>
                    </a:cubicBezTo>
                    <a:cubicBezTo>
                      <a:pt x="257" y="6"/>
                      <a:pt x="257" y="9"/>
                      <a:pt x="257" y="12"/>
                    </a:cubicBezTo>
                    <a:cubicBezTo>
                      <a:pt x="251" y="18"/>
                      <a:pt x="242" y="27"/>
                      <a:pt x="236" y="36"/>
                    </a:cubicBezTo>
                    <a:cubicBezTo>
                      <a:pt x="236" y="48"/>
                      <a:pt x="239" y="51"/>
                      <a:pt x="260" y="51"/>
                    </a:cubicBezTo>
                    <a:cubicBezTo>
                      <a:pt x="269" y="45"/>
                      <a:pt x="278" y="42"/>
                      <a:pt x="290" y="39"/>
                    </a:cubicBezTo>
                    <a:cubicBezTo>
                      <a:pt x="293" y="39"/>
                      <a:pt x="296" y="39"/>
                      <a:pt x="299" y="39"/>
                    </a:cubicBezTo>
                    <a:cubicBezTo>
                      <a:pt x="299" y="39"/>
                      <a:pt x="302" y="42"/>
                      <a:pt x="305" y="42"/>
                    </a:cubicBezTo>
                    <a:cubicBezTo>
                      <a:pt x="320" y="42"/>
                      <a:pt x="329" y="21"/>
                      <a:pt x="353" y="30"/>
                    </a:cubicBezTo>
                    <a:cubicBezTo>
                      <a:pt x="359" y="36"/>
                      <a:pt x="362" y="42"/>
                      <a:pt x="368" y="48"/>
                    </a:cubicBezTo>
                    <a:cubicBezTo>
                      <a:pt x="374" y="57"/>
                      <a:pt x="382" y="66"/>
                      <a:pt x="388" y="78"/>
                    </a:cubicBezTo>
                    <a:cubicBezTo>
                      <a:pt x="388" y="81"/>
                      <a:pt x="388" y="81"/>
                      <a:pt x="388" y="84"/>
                    </a:cubicBezTo>
                    <a:cubicBezTo>
                      <a:pt x="379" y="84"/>
                      <a:pt x="379" y="87"/>
                      <a:pt x="374" y="90"/>
                    </a:cubicBezTo>
                    <a:cubicBezTo>
                      <a:pt x="368" y="96"/>
                      <a:pt x="353" y="99"/>
                      <a:pt x="362" y="113"/>
                    </a:cubicBezTo>
                    <a:cubicBezTo>
                      <a:pt x="362" y="113"/>
                      <a:pt x="362" y="113"/>
                      <a:pt x="362" y="116"/>
                    </a:cubicBezTo>
                    <a:cubicBezTo>
                      <a:pt x="347" y="122"/>
                      <a:pt x="329" y="134"/>
                      <a:pt x="314" y="143"/>
                    </a:cubicBezTo>
                    <a:cubicBezTo>
                      <a:pt x="314" y="143"/>
                      <a:pt x="311" y="146"/>
                      <a:pt x="308" y="149"/>
                    </a:cubicBezTo>
                    <a:cubicBezTo>
                      <a:pt x="302" y="149"/>
                      <a:pt x="299" y="146"/>
                      <a:pt x="299" y="146"/>
                    </a:cubicBezTo>
                    <a:cubicBezTo>
                      <a:pt x="296" y="146"/>
                      <a:pt x="293" y="146"/>
                      <a:pt x="290" y="146"/>
                    </a:cubicBezTo>
                    <a:cubicBezTo>
                      <a:pt x="287" y="146"/>
                      <a:pt x="284" y="149"/>
                      <a:pt x="284" y="152"/>
                    </a:cubicBezTo>
                    <a:cubicBezTo>
                      <a:pt x="281" y="152"/>
                      <a:pt x="278" y="152"/>
                      <a:pt x="278" y="152"/>
                    </a:cubicBezTo>
                    <a:cubicBezTo>
                      <a:pt x="269" y="143"/>
                      <a:pt x="266" y="146"/>
                      <a:pt x="260" y="146"/>
                    </a:cubicBezTo>
                    <a:cubicBezTo>
                      <a:pt x="260" y="152"/>
                      <a:pt x="260" y="155"/>
                      <a:pt x="260" y="161"/>
                    </a:cubicBezTo>
                    <a:cubicBezTo>
                      <a:pt x="254" y="167"/>
                      <a:pt x="248" y="158"/>
                      <a:pt x="245" y="173"/>
                    </a:cubicBezTo>
                    <a:cubicBezTo>
                      <a:pt x="233" y="173"/>
                      <a:pt x="236" y="170"/>
                      <a:pt x="233" y="164"/>
                    </a:cubicBezTo>
                    <a:cubicBezTo>
                      <a:pt x="230" y="164"/>
                      <a:pt x="230" y="164"/>
                      <a:pt x="230" y="164"/>
                    </a:cubicBezTo>
                    <a:cubicBezTo>
                      <a:pt x="224" y="158"/>
                      <a:pt x="221" y="155"/>
                      <a:pt x="215" y="152"/>
                    </a:cubicBezTo>
                    <a:cubicBezTo>
                      <a:pt x="215" y="152"/>
                      <a:pt x="212" y="152"/>
                      <a:pt x="209" y="152"/>
                    </a:cubicBezTo>
                    <a:cubicBezTo>
                      <a:pt x="206" y="158"/>
                      <a:pt x="206" y="158"/>
                      <a:pt x="203" y="164"/>
                    </a:cubicBezTo>
                    <a:cubicBezTo>
                      <a:pt x="200" y="170"/>
                      <a:pt x="194" y="176"/>
                      <a:pt x="191" y="182"/>
                    </a:cubicBezTo>
                    <a:cubicBezTo>
                      <a:pt x="179" y="188"/>
                      <a:pt x="179" y="188"/>
                      <a:pt x="173" y="197"/>
                    </a:cubicBezTo>
                    <a:cubicBezTo>
                      <a:pt x="170" y="197"/>
                      <a:pt x="167" y="200"/>
                      <a:pt x="161" y="200"/>
                    </a:cubicBezTo>
                    <a:cubicBezTo>
                      <a:pt x="158" y="203"/>
                      <a:pt x="155" y="206"/>
                      <a:pt x="152" y="209"/>
                    </a:cubicBezTo>
                    <a:cubicBezTo>
                      <a:pt x="137" y="209"/>
                      <a:pt x="134" y="209"/>
                      <a:pt x="128" y="215"/>
                    </a:cubicBezTo>
                    <a:cubicBezTo>
                      <a:pt x="128" y="215"/>
                      <a:pt x="128" y="218"/>
                      <a:pt x="125" y="221"/>
                    </a:cubicBezTo>
                    <a:cubicBezTo>
                      <a:pt x="125" y="221"/>
                      <a:pt x="122" y="221"/>
                      <a:pt x="119" y="221"/>
                    </a:cubicBezTo>
                    <a:cubicBezTo>
                      <a:pt x="107" y="215"/>
                      <a:pt x="107" y="218"/>
                      <a:pt x="98" y="221"/>
                    </a:cubicBezTo>
                    <a:cubicBezTo>
                      <a:pt x="87" y="224"/>
                      <a:pt x="78" y="227"/>
                      <a:pt x="69" y="230"/>
                    </a:cubicBezTo>
                    <a:cubicBezTo>
                      <a:pt x="54" y="233"/>
                      <a:pt x="48" y="233"/>
                      <a:pt x="39" y="242"/>
                    </a:cubicBezTo>
                    <a:cubicBezTo>
                      <a:pt x="39" y="248"/>
                      <a:pt x="36" y="251"/>
                      <a:pt x="36" y="254"/>
                    </a:cubicBezTo>
                    <a:cubicBezTo>
                      <a:pt x="27" y="260"/>
                      <a:pt x="24" y="260"/>
                      <a:pt x="24" y="272"/>
                    </a:cubicBezTo>
                    <a:cubicBezTo>
                      <a:pt x="30" y="275"/>
                      <a:pt x="42" y="284"/>
                      <a:pt x="42" y="296"/>
                    </a:cubicBezTo>
                    <a:cubicBezTo>
                      <a:pt x="36" y="299"/>
                      <a:pt x="30" y="302"/>
                      <a:pt x="27" y="30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22" name="Freeform 26"/>
              <p:cNvSpPr>
                <a:spLocks/>
              </p:cNvSpPr>
              <p:nvPr/>
            </p:nvSpPr>
            <p:spPr bwMode="auto">
              <a:xfrm>
                <a:off x="7278842" y="4128609"/>
                <a:ext cx="497493" cy="583201"/>
              </a:xfrm>
              <a:custGeom>
                <a:avLst/>
                <a:gdLst>
                  <a:gd name="T0" fmla="*/ 466963009 w 209"/>
                  <a:gd name="T1" fmla="*/ 1856664263 h 270"/>
                  <a:gd name="T2" fmla="*/ 405158140 w 209"/>
                  <a:gd name="T3" fmla="*/ 1732885815 h 270"/>
                  <a:gd name="T4" fmla="*/ 405158140 w 209"/>
                  <a:gd name="T5" fmla="*/ 1732885815 h 270"/>
                  <a:gd name="T6" fmla="*/ 206011946 w 209"/>
                  <a:gd name="T7" fmla="*/ 1464701800 h 270"/>
                  <a:gd name="T8" fmla="*/ 20602502 w 209"/>
                  <a:gd name="T9" fmla="*/ 1444072059 h 270"/>
                  <a:gd name="T10" fmla="*/ 41202383 w 209"/>
                  <a:gd name="T11" fmla="*/ 1237776940 h 270"/>
                  <a:gd name="T12" fmla="*/ 41202383 w 209"/>
                  <a:gd name="T13" fmla="*/ 1072739010 h 270"/>
                  <a:gd name="T14" fmla="*/ 144209656 w 209"/>
                  <a:gd name="T15" fmla="*/ 928333443 h 270"/>
                  <a:gd name="T16" fmla="*/ 164809532 w 209"/>
                  <a:gd name="T17" fmla="*/ 845814477 h 270"/>
                  <a:gd name="T18" fmla="*/ 185412070 w 209"/>
                  <a:gd name="T19" fmla="*/ 660146642 h 270"/>
                  <a:gd name="T20" fmla="*/ 267816815 w 209"/>
                  <a:gd name="T21" fmla="*/ 598257418 h 270"/>
                  <a:gd name="T22" fmla="*/ 329621685 w 209"/>
                  <a:gd name="T23" fmla="*/ 536370816 h 270"/>
                  <a:gd name="T24" fmla="*/ 363955767 w 209"/>
                  <a:gd name="T25" fmla="*/ 474481592 h 270"/>
                  <a:gd name="T26" fmla="*/ 363955767 w 209"/>
                  <a:gd name="T27" fmla="*/ 412592368 h 270"/>
                  <a:gd name="T28" fmla="*/ 425760636 w 209"/>
                  <a:gd name="T29" fmla="*/ 226924614 h 270"/>
                  <a:gd name="T30" fmla="*/ 590570127 w 209"/>
                  <a:gd name="T31" fmla="*/ 165037972 h 270"/>
                  <a:gd name="T32" fmla="*/ 714180030 w 209"/>
                  <a:gd name="T33" fmla="*/ 20629746 h 270"/>
                  <a:gd name="T34" fmla="*/ 796584776 w 209"/>
                  <a:gd name="T35" fmla="*/ 41259493 h 270"/>
                  <a:gd name="T36" fmla="*/ 961394267 w 209"/>
                  <a:gd name="T37" fmla="*/ 330073321 h 270"/>
                  <a:gd name="T38" fmla="*/ 1167408751 w 209"/>
                  <a:gd name="T39" fmla="*/ 350703144 h 270"/>
                  <a:gd name="T40" fmla="*/ 1394023439 w 209"/>
                  <a:gd name="T41" fmla="*/ 309443579 h 270"/>
                  <a:gd name="T42" fmla="*/ 1435225812 w 209"/>
                  <a:gd name="T43" fmla="*/ 309443579 h 270"/>
                  <a:gd name="T44" fmla="*/ 1332218242 w 209"/>
                  <a:gd name="T45" fmla="*/ 433222109 h 270"/>
                  <a:gd name="T46" fmla="*/ 1332218242 w 209"/>
                  <a:gd name="T47" fmla="*/ 536370816 h 270"/>
                  <a:gd name="T48" fmla="*/ 1126206378 w 209"/>
                  <a:gd name="T49" fmla="*/ 618887159 h 270"/>
                  <a:gd name="T50" fmla="*/ 1208611124 w 209"/>
                  <a:gd name="T51" fmla="*/ 701406288 h 270"/>
                  <a:gd name="T52" fmla="*/ 1249813497 w 209"/>
                  <a:gd name="T53" fmla="*/ 722036029 h 270"/>
                  <a:gd name="T54" fmla="*/ 1208611124 w 209"/>
                  <a:gd name="T55" fmla="*/ 763295512 h 270"/>
                  <a:gd name="T56" fmla="*/ 1188008627 w 209"/>
                  <a:gd name="T57" fmla="*/ 1031479527 h 270"/>
                  <a:gd name="T58" fmla="*/ 1229213620 w 209"/>
                  <a:gd name="T59" fmla="*/ 1052109268 h 270"/>
                  <a:gd name="T60" fmla="*/ 1229213620 w 209"/>
                  <a:gd name="T61" fmla="*/ 1072739010 h 270"/>
                  <a:gd name="T62" fmla="*/ 1208611124 w 209"/>
                  <a:gd name="T63" fmla="*/ 1052109268 h 270"/>
                  <a:gd name="T64" fmla="*/ 1105603882 w 209"/>
                  <a:gd name="T65" fmla="*/ 1072739010 h 270"/>
                  <a:gd name="T66" fmla="*/ 1105603882 w 209"/>
                  <a:gd name="T67" fmla="*/ 1155257975 h 270"/>
                  <a:gd name="T68" fmla="*/ 1002596639 w 209"/>
                  <a:gd name="T69" fmla="*/ 1340923024 h 270"/>
                  <a:gd name="T70" fmla="*/ 920191894 w 209"/>
                  <a:gd name="T71" fmla="*/ 1402812576 h 270"/>
                  <a:gd name="T72" fmla="*/ 817184652 w 209"/>
                  <a:gd name="T73" fmla="*/ 1423442317 h 270"/>
                  <a:gd name="T74" fmla="*/ 837787148 w 209"/>
                  <a:gd name="T75" fmla="*/ 1526591024 h 270"/>
                  <a:gd name="T76" fmla="*/ 590570127 w 209"/>
                  <a:gd name="T77" fmla="*/ 1732885815 h 270"/>
                  <a:gd name="T78" fmla="*/ 569970251 w 209"/>
                  <a:gd name="T79" fmla="*/ 1774145298 h 270"/>
                  <a:gd name="T80" fmla="*/ 466963009 w 209"/>
                  <a:gd name="T81" fmla="*/ 1856664263 h 27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09"/>
                  <a:gd name="T124" fmla="*/ 0 h 270"/>
                  <a:gd name="T125" fmla="*/ 209 w 209"/>
                  <a:gd name="T126" fmla="*/ 270 h 27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09" h="270">
                    <a:moveTo>
                      <a:pt x="68" y="270"/>
                    </a:moveTo>
                    <a:cubicBezTo>
                      <a:pt x="68" y="261"/>
                      <a:pt x="62" y="255"/>
                      <a:pt x="59" y="252"/>
                    </a:cubicBezTo>
                    <a:cubicBezTo>
                      <a:pt x="59" y="252"/>
                      <a:pt x="59" y="252"/>
                      <a:pt x="59" y="252"/>
                    </a:cubicBezTo>
                    <a:cubicBezTo>
                      <a:pt x="51" y="237"/>
                      <a:pt x="42" y="225"/>
                      <a:pt x="30" y="213"/>
                    </a:cubicBezTo>
                    <a:cubicBezTo>
                      <a:pt x="18" y="210"/>
                      <a:pt x="9" y="213"/>
                      <a:pt x="3" y="210"/>
                    </a:cubicBezTo>
                    <a:cubicBezTo>
                      <a:pt x="0" y="198"/>
                      <a:pt x="3" y="192"/>
                      <a:pt x="6" y="180"/>
                    </a:cubicBezTo>
                    <a:cubicBezTo>
                      <a:pt x="9" y="171"/>
                      <a:pt x="6" y="162"/>
                      <a:pt x="6" y="156"/>
                    </a:cubicBezTo>
                    <a:cubicBezTo>
                      <a:pt x="12" y="147"/>
                      <a:pt x="18" y="141"/>
                      <a:pt x="21" y="135"/>
                    </a:cubicBezTo>
                    <a:cubicBezTo>
                      <a:pt x="21" y="132"/>
                      <a:pt x="24" y="129"/>
                      <a:pt x="24" y="123"/>
                    </a:cubicBezTo>
                    <a:cubicBezTo>
                      <a:pt x="24" y="114"/>
                      <a:pt x="21" y="102"/>
                      <a:pt x="27" y="96"/>
                    </a:cubicBezTo>
                    <a:cubicBezTo>
                      <a:pt x="30" y="93"/>
                      <a:pt x="36" y="90"/>
                      <a:pt x="39" y="87"/>
                    </a:cubicBezTo>
                    <a:cubicBezTo>
                      <a:pt x="42" y="84"/>
                      <a:pt x="45" y="81"/>
                      <a:pt x="48" y="78"/>
                    </a:cubicBezTo>
                    <a:cubicBezTo>
                      <a:pt x="51" y="75"/>
                      <a:pt x="51" y="72"/>
                      <a:pt x="53" y="69"/>
                    </a:cubicBezTo>
                    <a:cubicBezTo>
                      <a:pt x="53" y="66"/>
                      <a:pt x="53" y="63"/>
                      <a:pt x="53" y="60"/>
                    </a:cubicBezTo>
                    <a:cubicBezTo>
                      <a:pt x="45" y="42"/>
                      <a:pt x="48" y="39"/>
                      <a:pt x="62" y="33"/>
                    </a:cubicBezTo>
                    <a:cubicBezTo>
                      <a:pt x="71" y="30"/>
                      <a:pt x="77" y="30"/>
                      <a:pt x="86" y="24"/>
                    </a:cubicBezTo>
                    <a:cubicBezTo>
                      <a:pt x="95" y="21"/>
                      <a:pt x="101" y="9"/>
                      <a:pt x="104" y="3"/>
                    </a:cubicBezTo>
                    <a:cubicBezTo>
                      <a:pt x="107" y="0"/>
                      <a:pt x="110" y="0"/>
                      <a:pt x="116" y="6"/>
                    </a:cubicBezTo>
                    <a:cubicBezTo>
                      <a:pt x="122" y="18"/>
                      <a:pt x="122" y="39"/>
                      <a:pt x="140" y="48"/>
                    </a:cubicBezTo>
                    <a:cubicBezTo>
                      <a:pt x="149" y="51"/>
                      <a:pt x="161" y="51"/>
                      <a:pt x="170" y="51"/>
                    </a:cubicBezTo>
                    <a:cubicBezTo>
                      <a:pt x="176" y="45"/>
                      <a:pt x="191" y="45"/>
                      <a:pt x="203" y="45"/>
                    </a:cubicBezTo>
                    <a:cubicBezTo>
                      <a:pt x="206" y="45"/>
                      <a:pt x="206" y="45"/>
                      <a:pt x="209" y="45"/>
                    </a:cubicBezTo>
                    <a:cubicBezTo>
                      <a:pt x="203" y="51"/>
                      <a:pt x="197" y="54"/>
                      <a:pt x="194" y="63"/>
                    </a:cubicBezTo>
                    <a:cubicBezTo>
                      <a:pt x="194" y="69"/>
                      <a:pt x="194" y="75"/>
                      <a:pt x="194" y="78"/>
                    </a:cubicBezTo>
                    <a:cubicBezTo>
                      <a:pt x="179" y="78"/>
                      <a:pt x="161" y="75"/>
                      <a:pt x="164" y="90"/>
                    </a:cubicBezTo>
                    <a:cubicBezTo>
                      <a:pt x="170" y="93"/>
                      <a:pt x="173" y="96"/>
                      <a:pt x="176" y="102"/>
                    </a:cubicBezTo>
                    <a:cubicBezTo>
                      <a:pt x="179" y="102"/>
                      <a:pt x="182" y="105"/>
                      <a:pt x="182" y="105"/>
                    </a:cubicBezTo>
                    <a:cubicBezTo>
                      <a:pt x="182" y="108"/>
                      <a:pt x="179" y="111"/>
                      <a:pt x="176" y="111"/>
                    </a:cubicBezTo>
                    <a:cubicBezTo>
                      <a:pt x="176" y="123"/>
                      <a:pt x="167" y="138"/>
                      <a:pt x="173" y="150"/>
                    </a:cubicBezTo>
                    <a:cubicBezTo>
                      <a:pt x="176" y="150"/>
                      <a:pt x="176" y="153"/>
                      <a:pt x="179" y="153"/>
                    </a:cubicBezTo>
                    <a:cubicBezTo>
                      <a:pt x="179" y="156"/>
                      <a:pt x="179" y="156"/>
                      <a:pt x="179" y="156"/>
                    </a:cubicBezTo>
                    <a:cubicBezTo>
                      <a:pt x="176" y="153"/>
                      <a:pt x="176" y="153"/>
                      <a:pt x="176" y="153"/>
                    </a:cubicBezTo>
                    <a:cubicBezTo>
                      <a:pt x="173" y="153"/>
                      <a:pt x="167" y="153"/>
                      <a:pt x="161" y="156"/>
                    </a:cubicBezTo>
                    <a:cubicBezTo>
                      <a:pt x="158" y="159"/>
                      <a:pt x="161" y="159"/>
                      <a:pt x="161" y="168"/>
                    </a:cubicBezTo>
                    <a:cubicBezTo>
                      <a:pt x="146" y="180"/>
                      <a:pt x="149" y="174"/>
                      <a:pt x="146" y="195"/>
                    </a:cubicBezTo>
                    <a:cubicBezTo>
                      <a:pt x="143" y="198"/>
                      <a:pt x="137" y="201"/>
                      <a:pt x="134" y="204"/>
                    </a:cubicBezTo>
                    <a:cubicBezTo>
                      <a:pt x="128" y="204"/>
                      <a:pt x="122" y="207"/>
                      <a:pt x="119" y="207"/>
                    </a:cubicBezTo>
                    <a:cubicBezTo>
                      <a:pt x="113" y="210"/>
                      <a:pt x="113" y="216"/>
                      <a:pt x="122" y="222"/>
                    </a:cubicBezTo>
                    <a:cubicBezTo>
                      <a:pt x="104" y="225"/>
                      <a:pt x="95" y="240"/>
                      <a:pt x="86" y="252"/>
                    </a:cubicBezTo>
                    <a:cubicBezTo>
                      <a:pt x="86" y="252"/>
                      <a:pt x="86" y="255"/>
                      <a:pt x="83" y="258"/>
                    </a:cubicBezTo>
                    <a:cubicBezTo>
                      <a:pt x="80" y="264"/>
                      <a:pt x="74" y="267"/>
                      <a:pt x="68" y="27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23" name="Freeform 24"/>
              <p:cNvSpPr>
                <a:spLocks/>
              </p:cNvSpPr>
              <p:nvPr/>
            </p:nvSpPr>
            <p:spPr bwMode="auto">
              <a:xfrm>
                <a:off x="6386238" y="3946846"/>
                <a:ext cx="634483" cy="700887"/>
              </a:xfrm>
              <a:custGeom>
                <a:avLst/>
                <a:gdLst>
                  <a:gd name="T0" fmla="*/ 1130871309 w 266"/>
                  <a:gd name="T1" fmla="*/ 2147483647 h 324"/>
                  <a:gd name="T2" fmla="*/ 965379404 w 266"/>
                  <a:gd name="T3" fmla="*/ 2147483647 h 324"/>
                  <a:gd name="T4" fmla="*/ 930900830 w 266"/>
                  <a:gd name="T5" fmla="*/ 2147483647 h 324"/>
                  <a:gd name="T6" fmla="*/ 806780588 w 266"/>
                  <a:gd name="T7" fmla="*/ 2069131306 h 324"/>
                  <a:gd name="T8" fmla="*/ 806780588 w 266"/>
                  <a:gd name="T9" fmla="*/ 2027749744 h 324"/>
                  <a:gd name="T10" fmla="*/ 910213685 w 266"/>
                  <a:gd name="T11" fmla="*/ 1779455116 h 324"/>
                  <a:gd name="T12" fmla="*/ 806780588 w 266"/>
                  <a:gd name="T13" fmla="*/ 1613923614 h 324"/>
                  <a:gd name="T14" fmla="*/ 703347490 w 266"/>
                  <a:gd name="T15" fmla="*/ 1572539425 h 324"/>
                  <a:gd name="T16" fmla="*/ 579227084 w 266"/>
                  <a:gd name="T17" fmla="*/ 1593231519 h 324"/>
                  <a:gd name="T18" fmla="*/ 455106842 w 266"/>
                  <a:gd name="T19" fmla="*/ 1696689365 h 324"/>
                  <a:gd name="T20" fmla="*/ 330986519 w 266"/>
                  <a:gd name="T21" fmla="*/ 1717378833 h 324"/>
                  <a:gd name="T22" fmla="*/ 227553421 w 266"/>
                  <a:gd name="T23" fmla="*/ 1551849957 h 324"/>
                  <a:gd name="T24" fmla="*/ 206866277 w 266"/>
                  <a:gd name="T25" fmla="*/ 1531157862 h 324"/>
                  <a:gd name="T26" fmla="*/ 206866277 w 266"/>
                  <a:gd name="T27" fmla="*/ 1241478718 h 324"/>
                  <a:gd name="T28" fmla="*/ 0 w 266"/>
                  <a:gd name="T29" fmla="*/ 1282862907 h 324"/>
                  <a:gd name="T30" fmla="*/ 103433138 w 266"/>
                  <a:gd name="T31" fmla="*/ 1179405061 h 324"/>
                  <a:gd name="T32" fmla="*/ 206866277 w 266"/>
                  <a:gd name="T33" fmla="*/ 1013873559 h 324"/>
                  <a:gd name="T34" fmla="*/ 165494572 w 266"/>
                  <a:gd name="T35" fmla="*/ 806960494 h 324"/>
                  <a:gd name="T36" fmla="*/ 144807428 w 266"/>
                  <a:gd name="T37" fmla="*/ 558665702 h 324"/>
                  <a:gd name="T38" fmla="*/ 124120283 w 266"/>
                  <a:gd name="T39" fmla="*/ 475899951 h 324"/>
                  <a:gd name="T40" fmla="*/ 268927711 w 266"/>
                  <a:gd name="T41" fmla="*/ 289678898 h 324"/>
                  <a:gd name="T42" fmla="*/ 475793987 w 266"/>
                  <a:gd name="T43" fmla="*/ 227605241 h 324"/>
                  <a:gd name="T44" fmla="*/ 579227084 w 266"/>
                  <a:gd name="T45" fmla="*/ 186221053 h 324"/>
                  <a:gd name="T46" fmla="*/ 517165650 w 266"/>
                  <a:gd name="T47" fmla="*/ 62073677 h 324"/>
                  <a:gd name="T48" fmla="*/ 724034635 w 266"/>
                  <a:gd name="T49" fmla="*/ 82765772 h 324"/>
                  <a:gd name="T50" fmla="*/ 827467732 w 266"/>
                  <a:gd name="T51" fmla="*/ 82765772 h 324"/>
                  <a:gd name="T52" fmla="*/ 1068812501 w 266"/>
                  <a:gd name="T53" fmla="*/ 227605241 h 324"/>
                  <a:gd name="T54" fmla="*/ 1172245599 w 266"/>
                  <a:gd name="T55" fmla="*/ 268986804 h 324"/>
                  <a:gd name="T56" fmla="*/ 1275678696 w 266"/>
                  <a:gd name="T57" fmla="*/ 268986804 h 324"/>
                  <a:gd name="T58" fmla="*/ 1337737504 w 266"/>
                  <a:gd name="T59" fmla="*/ 186221053 h 324"/>
                  <a:gd name="T60" fmla="*/ 1482545219 w 266"/>
                  <a:gd name="T61" fmla="*/ 289678898 h 324"/>
                  <a:gd name="T62" fmla="*/ 1544604027 w 266"/>
                  <a:gd name="T63" fmla="*/ 310370993 h 324"/>
                  <a:gd name="T64" fmla="*/ 1772159992 w 266"/>
                  <a:gd name="T65" fmla="*/ 496592045 h 324"/>
                  <a:gd name="T66" fmla="*/ 1772159992 w 266"/>
                  <a:gd name="T67" fmla="*/ 765578931 h 324"/>
                  <a:gd name="T68" fmla="*/ 1689411413 w 266"/>
                  <a:gd name="T69" fmla="*/ 1138023499 h 324"/>
                  <a:gd name="T70" fmla="*/ 1710098558 w 266"/>
                  <a:gd name="T71" fmla="*/ 1200097155 h 324"/>
                  <a:gd name="T72" fmla="*/ 1792844510 w 266"/>
                  <a:gd name="T73" fmla="*/ 1469084206 h 324"/>
                  <a:gd name="T74" fmla="*/ 1813531655 w 266"/>
                  <a:gd name="T75" fmla="*/ 1655305176 h 324"/>
                  <a:gd name="T76" fmla="*/ 1834218800 w 266"/>
                  <a:gd name="T77" fmla="*/ 1882910335 h 324"/>
                  <a:gd name="T78" fmla="*/ 1461858074 w 266"/>
                  <a:gd name="T79" fmla="*/ 1882910335 h 324"/>
                  <a:gd name="T80" fmla="*/ 1523919508 w 266"/>
                  <a:gd name="T81" fmla="*/ 2027749744 h 324"/>
                  <a:gd name="T82" fmla="*/ 1503232363 w 266"/>
                  <a:gd name="T83" fmla="*/ 2089823400 h 324"/>
                  <a:gd name="T84" fmla="*/ 1379112121 w 266"/>
                  <a:gd name="T85" fmla="*/ 1986368181 h 324"/>
                  <a:gd name="T86" fmla="*/ 1254991551 w 266"/>
                  <a:gd name="T87" fmla="*/ 1986368181 h 324"/>
                  <a:gd name="T88" fmla="*/ 1192932743 w 266"/>
                  <a:gd name="T89" fmla="*/ 2089823400 h 324"/>
                  <a:gd name="T90" fmla="*/ 1130871309 w 266"/>
                  <a:gd name="T91" fmla="*/ 2147483647 h 32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66"/>
                  <a:gd name="T139" fmla="*/ 0 h 324"/>
                  <a:gd name="T140" fmla="*/ 266 w 266"/>
                  <a:gd name="T141" fmla="*/ 324 h 32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66" h="324">
                    <a:moveTo>
                      <a:pt x="164" y="324"/>
                    </a:moveTo>
                    <a:cubicBezTo>
                      <a:pt x="155" y="315"/>
                      <a:pt x="146" y="321"/>
                      <a:pt x="140" y="321"/>
                    </a:cubicBezTo>
                    <a:cubicBezTo>
                      <a:pt x="138" y="321"/>
                      <a:pt x="138" y="318"/>
                      <a:pt x="135" y="315"/>
                    </a:cubicBezTo>
                    <a:cubicBezTo>
                      <a:pt x="135" y="297"/>
                      <a:pt x="123" y="300"/>
                      <a:pt x="117" y="300"/>
                    </a:cubicBezTo>
                    <a:cubicBezTo>
                      <a:pt x="117" y="300"/>
                      <a:pt x="117" y="297"/>
                      <a:pt x="117" y="294"/>
                    </a:cubicBezTo>
                    <a:cubicBezTo>
                      <a:pt x="123" y="282"/>
                      <a:pt x="132" y="270"/>
                      <a:pt x="132" y="258"/>
                    </a:cubicBezTo>
                    <a:cubicBezTo>
                      <a:pt x="126" y="249"/>
                      <a:pt x="117" y="243"/>
                      <a:pt x="117" y="234"/>
                    </a:cubicBezTo>
                    <a:cubicBezTo>
                      <a:pt x="111" y="225"/>
                      <a:pt x="108" y="228"/>
                      <a:pt x="102" y="228"/>
                    </a:cubicBezTo>
                    <a:cubicBezTo>
                      <a:pt x="96" y="231"/>
                      <a:pt x="90" y="231"/>
                      <a:pt x="84" y="231"/>
                    </a:cubicBezTo>
                    <a:cubicBezTo>
                      <a:pt x="78" y="240"/>
                      <a:pt x="72" y="243"/>
                      <a:pt x="66" y="246"/>
                    </a:cubicBezTo>
                    <a:cubicBezTo>
                      <a:pt x="60" y="246"/>
                      <a:pt x="54" y="249"/>
                      <a:pt x="48" y="249"/>
                    </a:cubicBezTo>
                    <a:cubicBezTo>
                      <a:pt x="48" y="234"/>
                      <a:pt x="39" y="231"/>
                      <a:pt x="33" y="225"/>
                    </a:cubicBezTo>
                    <a:cubicBezTo>
                      <a:pt x="30" y="222"/>
                      <a:pt x="30" y="222"/>
                      <a:pt x="30" y="222"/>
                    </a:cubicBezTo>
                    <a:cubicBezTo>
                      <a:pt x="30" y="207"/>
                      <a:pt x="30" y="195"/>
                      <a:pt x="30" y="180"/>
                    </a:cubicBezTo>
                    <a:cubicBezTo>
                      <a:pt x="18" y="180"/>
                      <a:pt x="9" y="183"/>
                      <a:pt x="0" y="186"/>
                    </a:cubicBezTo>
                    <a:cubicBezTo>
                      <a:pt x="0" y="171"/>
                      <a:pt x="3" y="174"/>
                      <a:pt x="15" y="171"/>
                    </a:cubicBezTo>
                    <a:cubicBezTo>
                      <a:pt x="24" y="168"/>
                      <a:pt x="30" y="156"/>
                      <a:pt x="30" y="147"/>
                    </a:cubicBezTo>
                    <a:cubicBezTo>
                      <a:pt x="27" y="135"/>
                      <a:pt x="24" y="126"/>
                      <a:pt x="24" y="117"/>
                    </a:cubicBezTo>
                    <a:cubicBezTo>
                      <a:pt x="21" y="105"/>
                      <a:pt x="21" y="93"/>
                      <a:pt x="21" y="81"/>
                    </a:cubicBezTo>
                    <a:cubicBezTo>
                      <a:pt x="21" y="78"/>
                      <a:pt x="21" y="72"/>
                      <a:pt x="18" y="69"/>
                    </a:cubicBezTo>
                    <a:cubicBezTo>
                      <a:pt x="30" y="63"/>
                      <a:pt x="36" y="54"/>
                      <a:pt x="39" y="42"/>
                    </a:cubicBezTo>
                    <a:cubicBezTo>
                      <a:pt x="48" y="36"/>
                      <a:pt x="57" y="30"/>
                      <a:pt x="69" y="33"/>
                    </a:cubicBezTo>
                    <a:cubicBezTo>
                      <a:pt x="75" y="33"/>
                      <a:pt x="81" y="33"/>
                      <a:pt x="84" y="27"/>
                    </a:cubicBezTo>
                    <a:cubicBezTo>
                      <a:pt x="84" y="15"/>
                      <a:pt x="81" y="12"/>
                      <a:pt x="75" y="9"/>
                    </a:cubicBezTo>
                    <a:cubicBezTo>
                      <a:pt x="78" y="0"/>
                      <a:pt x="93" y="6"/>
                      <a:pt x="105" y="12"/>
                    </a:cubicBezTo>
                    <a:cubicBezTo>
                      <a:pt x="108" y="12"/>
                      <a:pt x="114" y="12"/>
                      <a:pt x="120" y="12"/>
                    </a:cubicBezTo>
                    <a:cubicBezTo>
                      <a:pt x="129" y="18"/>
                      <a:pt x="143" y="24"/>
                      <a:pt x="155" y="33"/>
                    </a:cubicBezTo>
                    <a:cubicBezTo>
                      <a:pt x="158" y="33"/>
                      <a:pt x="164" y="36"/>
                      <a:pt x="170" y="39"/>
                    </a:cubicBezTo>
                    <a:cubicBezTo>
                      <a:pt x="173" y="39"/>
                      <a:pt x="179" y="39"/>
                      <a:pt x="185" y="39"/>
                    </a:cubicBezTo>
                    <a:cubicBezTo>
                      <a:pt x="188" y="33"/>
                      <a:pt x="191" y="30"/>
                      <a:pt x="194" y="27"/>
                    </a:cubicBezTo>
                    <a:cubicBezTo>
                      <a:pt x="200" y="27"/>
                      <a:pt x="206" y="30"/>
                      <a:pt x="215" y="42"/>
                    </a:cubicBezTo>
                    <a:cubicBezTo>
                      <a:pt x="218" y="42"/>
                      <a:pt x="221" y="45"/>
                      <a:pt x="224" y="45"/>
                    </a:cubicBezTo>
                    <a:cubicBezTo>
                      <a:pt x="233" y="48"/>
                      <a:pt x="245" y="60"/>
                      <a:pt x="257" y="72"/>
                    </a:cubicBezTo>
                    <a:cubicBezTo>
                      <a:pt x="260" y="84"/>
                      <a:pt x="263" y="96"/>
                      <a:pt x="257" y="111"/>
                    </a:cubicBezTo>
                    <a:cubicBezTo>
                      <a:pt x="239" y="129"/>
                      <a:pt x="230" y="138"/>
                      <a:pt x="245" y="165"/>
                    </a:cubicBezTo>
                    <a:cubicBezTo>
                      <a:pt x="245" y="168"/>
                      <a:pt x="248" y="171"/>
                      <a:pt x="248" y="174"/>
                    </a:cubicBezTo>
                    <a:cubicBezTo>
                      <a:pt x="251" y="177"/>
                      <a:pt x="257" y="201"/>
                      <a:pt x="260" y="213"/>
                    </a:cubicBezTo>
                    <a:cubicBezTo>
                      <a:pt x="266" y="222"/>
                      <a:pt x="266" y="228"/>
                      <a:pt x="263" y="240"/>
                    </a:cubicBezTo>
                    <a:cubicBezTo>
                      <a:pt x="263" y="249"/>
                      <a:pt x="263" y="258"/>
                      <a:pt x="266" y="273"/>
                    </a:cubicBezTo>
                    <a:cubicBezTo>
                      <a:pt x="248" y="273"/>
                      <a:pt x="230" y="273"/>
                      <a:pt x="212" y="273"/>
                    </a:cubicBezTo>
                    <a:cubicBezTo>
                      <a:pt x="206" y="279"/>
                      <a:pt x="215" y="288"/>
                      <a:pt x="221" y="294"/>
                    </a:cubicBezTo>
                    <a:cubicBezTo>
                      <a:pt x="221" y="297"/>
                      <a:pt x="218" y="300"/>
                      <a:pt x="218" y="303"/>
                    </a:cubicBezTo>
                    <a:cubicBezTo>
                      <a:pt x="212" y="303"/>
                      <a:pt x="200" y="288"/>
                      <a:pt x="200" y="288"/>
                    </a:cubicBezTo>
                    <a:cubicBezTo>
                      <a:pt x="194" y="288"/>
                      <a:pt x="188" y="288"/>
                      <a:pt x="182" y="288"/>
                    </a:cubicBezTo>
                    <a:cubicBezTo>
                      <a:pt x="179" y="291"/>
                      <a:pt x="176" y="297"/>
                      <a:pt x="173" y="303"/>
                    </a:cubicBezTo>
                    <a:cubicBezTo>
                      <a:pt x="173" y="306"/>
                      <a:pt x="173" y="318"/>
                      <a:pt x="164" y="32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24" name="Freeform 27"/>
              <p:cNvSpPr>
                <a:spLocks/>
              </p:cNvSpPr>
              <p:nvPr/>
            </p:nvSpPr>
            <p:spPr bwMode="auto">
              <a:xfrm>
                <a:off x="6550627" y="3160963"/>
                <a:ext cx="663323" cy="584509"/>
              </a:xfrm>
              <a:custGeom>
                <a:avLst/>
                <a:gdLst>
                  <a:gd name="T0" fmla="*/ 1649117203 w 278"/>
                  <a:gd name="T1" fmla="*/ 1865002072 h 270"/>
                  <a:gd name="T2" fmla="*/ 1483516014 w 278"/>
                  <a:gd name="T3" fmla="*/ 1844278754 h 270"/>
                  <a:gd name="T4" fmla="*/ 1359312824 w 278"/>
                  <a:gd name="T5" fmla="*/ 1782114055 h 270"/>
                  <a:gd name="T6" fmla="*/ 1131611518 w 278"/>
                  <a:gd name="T7" fmla="*/ 1740667418 h 270"/>
                  <a:gd name="T8" fmla="*/ 1069511400 w 278"/>
                  <a:gd name="T9" fmla="*/ 1637056082 h 270"/>
                  <a:gd name="T10" fmla="*/ 966010329 w 278"/>
                  <a:gd name="T11" fmla="*/ 1574891383 h 270"/>
                  <a:gd name="T12" fmla="*/ 552005879 w 278"/>
                  <a:gd name="T13" fmla="*/ 1554168065 h 270"/>
                  <a:gd name="T14" fmla="*/ 289804133 w 278"/>
                  <a:gd name="T15" fmla="*/ 1429836039 h 270"/>
                  <a:gd name="T16" fmla="*/ 207002225 w 278"/>
                  <a:gd name="T17" fmla="*/ 1346945065 h 270"/>
                  <a:gd name="T18" fmla="*/ 62100138 w 278"/>
                  <a:gd name="T19" fmla="*/ 1015390368 h 270"/>
                  <a:gd name="T20" fmla="*/ 0 w 278"/>
                  <a:gd name="T21" fmla="*/ 849611705 h 270"/>
                  <a:gd name="T22" fmla="*/ 0 w 278"/>
                  <a:gd name="T23" fmla="*/ 725279679 h 270"/>
                  <a:gd name="T24" fmla="*/ 165601230 w 278"/>
                  <a:gd name="T25" fmla="*/ 621668179 h 270"/>
                  <a:gd name="T26" fmla="*/ 227701389 w 278"/>
                  <a:gd name="T27" fmla="*/ 600944860 h 270"/>
                  <a:gd name="T28" fmla="*/ 476104568 w 278"/>
                  <a:gd name="T29" fmla="*/ 497333525 h 270"/>
                  <a:gd name="T30" fmla="*/ 696908068 w 278"/>
                  <a:gd name="T31" fmla="*/ 435166197 h 270"/>
                  <a:gd name="T32" fmla="*/ 883208421 w 278"/>
                  <a:gd name="T33" fmla="*/ 290110771 h 270"/>
                  <a:gd name="T34" fmla="*/ 966010329 w 278"/>
                  <a:gd name="T35" fmla="*/ 0 h 270"/>
                  <a:gd name="T36" fmla="*/ 1152310681 w 278"/>
                  <a:gd name="T37" fmla="*/ 41444019 h 270"/>
                  <a:gd name="T38" fmla="*/ 1421413270 w 278"/>
                  <a:gd name="T39" fmla="*/ 41444019 h 270"/>
                  <a:gd name="T40" fmla="*/ 1462814224 w 278"/>
                  <a:gd name="T41" fmla="*/ 103611377 h 270"/>
                  <a:gd name="T42" fmla="*/ 1504215178 w 278"/>
                  <a:gd name="T43" fmla="*/ 290110771 h 270"/>
                  <a:gd name="T44" fmla="*/ 1400714106 w 278"/>
                  <a:gd name="T45" fmla="*/ 414445507 h 270"/>
                  <a:gd name="T46" fmla="*/ 1359312824 w 278"/>
                  <a:gd name="T47" fmla="*/ 435166197 h 270"/>
                  <a:gd name="T48" fmla="*/ 1359312824 w 278"/>
                  <a:gd name="T49" fmla="*/ 455889516 h 270"/>
                  <a:gd name="T50" fmla="*/ 1483516014 w 278"/>
                  <a:gd name="T51" fmla="*/ 538777533 h 270"/>
                  <a:gd name="T52" fmla="*/ 1483516014 w 278"/>
                  <a:gd name="T53" fmla="*/ 559500852 h 270"/>
                  <a:gd name="T54" fmla="*/ 1752618275 w 278"/>
                  <a:gd name="T55" fmla="*/ 642388869 h 270"/>
                  <a:gd name="T56" fmla="*/ 1814718392 w 278"/>
                  <a:gd name="T57" fmla="*/ 704556360 h 270"/>
                  <a:gd name="T58" fmla="*/ 1918219464 w 278"/>
                  <a:gd name="T59" fmla="*/ 787444378 h 270"/>
                  <a:gd name="T60" fmla="*/ 1918219464 w 278"/>
                  <a:gd name="T61" fmla="*/ 808167696 h 270"/>
                  <a:gd name="T62" fmla="*/ 1856119346 w 278"/>
                  <a:gd name="T63" fmla="*/ 973946359 h 270"/>
                  <a:gd name="T64" fmla="*/ 1814718392 w 278"/>
                  <a:gd name="T65" fmla="*/ 953223040 h 270"/>
                  <a:gd name="T66" fmla="*/ 1628415413 w 278"/>
                  <a:gd name="T67" fmla="*/ 808167696 h 270"/>
                  <a:gd name="T68" fmla="*/ 1628415413 w 278"/>
                  <a:gd name="T69" fmla="*/ 1056834376 h 270"/>
                  <a:gd name="T70" fmla="*/ 1462814224 w 278"/>
                  <a:gd name="T71" fmla="*/ 1222613039 h 270"/>
                  <a:gd name="T72" fmla="*/ 1462814224 w 278"/>
                  <a:gd name="T73" fmla="*/ 1305501056 h 270"/>
                  <a:gd name="T74" fmla="*/ 1545616132 w 278"/>
                  <a:gd name="T75" fmla="*/ 1367668383 h 270"/>
                  <a:gd name="T76" fmla="*/ 1566315295 w 278"/>
                  <a:gd name="T77" fmla="*/ 1492000738 h 270"/>
                  <a:gd name="T78" fmla="*/ 1669816367 w 278"/>
                  <a:gd name="T79" fmla="*/ 1533444747 h 270"/>
                  <a:gd name="T80" fmla="*/ 1752618275 w 278"/>
                  <a:gd name="T81" fmla="*/ 1512724056 h 270"/>
                  <a:gd name="T82" fmla="*/ 1794019229 w 278"/>
                  <a:gd name="T83" fmla="*/ 1740667418 h 270"/>
                  <a:gd name="T84" fmla="*/ 1690518157 w 278"/>
                  <a:gd name="T85" fmla="*/ 1802834745 h 270"/>
                  <a:gd name="T86" fmla="*/ 1649117203 w 278"/>
                  <a:gd name="T87" fmla="*/ 1865002072 h 27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78"/>
                  <a:gd name="T133" fmla="*/ 0 h 270"/>
                  <a:gd name="T134" fmla="*/ 278 w 278"/>
                  <a:gd name="T135" fmla="*/ 270 h 27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78" h="270">
                    <a:moveTo>
                      <a:pt x="239" y="270"/>
                    </a:moveTo>
                    <a:cubicBezTo>
                      <a:pt x="230" y="270"/>
                      <a:pt x="224" y="270"/>
                      <a:pt x="215" y="267"/>
                    </a:cubicBezTo>
                    <a:cubicBezTo>
                      <a:pt x="209" y="264"/>
                      <a:pt x="203" y="261"/>
                      <a:pt x="197" y="258"/>
                    </a:cubicBezTo>
                    <a:cubicBezTo>
                      <a:pt x="179" y="258"/>
                      <a:pt x="173" y="258"/>
                      <a:pt x="164" y="252"/>
                    </a:cubicBezTo>
                    <a:cubicBezTo>
                      <a:pt x="161" y="246"/>
                      <a:pt x="158" y="243"/>
                      <a:pt x="155" y="237"/>
                    </a:cubicBezTo>
                    <a:cubicBezTo>
                      <a:pt x="149" y="234"/>
                      <a:pt x="146" y="231"/>
                      <a:pt x="140" y="228"/>
                    </a:cubicBezTo>
                    <a:cubicBezTo>
                      <a:pt x="119" y="228"/>
                      <a:pt x="98" y="228"/>
                      <a:pt x="80" y="225"/>
                    </a:cubicBezTo>
                    <a:cubicBezTo>
                      <a:pt x="66" y="222"/>
                      <a:pt x="45" y="213"/>
                      <a:pt x="42" y="207"/>
                    </a:cubicBezTo>
                    <a:cubicBezTo>
                      <a:pt x="33" y="201"/>
                      <a:pt x="33" y="198"/>
                      <a:pt x="30" y="195"/>
                    </a:cubicBezTo>
                    <a:cubicBezTo>
                      <a:pt x="27" y="171"/>
                      <a:pt x="15" y="159"/>
                      <a:pt x="9" y="147"/>
                    </a:cubicBezTo>
                    <a:cubicBezTo>
                      <a:pt x="6" y="138"/>
                      <a:pt x="3" y="132"/>
                      <a:pt x="0" y="123"/>
                    </a:cubicBezTo>
                    <a:cubicBezTo>
                      <a:pt x="0" y="117"/>
                      <a:pt x="0" y="111"/>
                      <a:pt x="0" y="105"/>
                    </a:cubicBezTo>
                    <a:cubicBezTo>
                      <a:pt x="9" y="105"/>
                      <a:pt x="18" y="96"/>
                      <a:pt x="24" y="90"/>
                    </a:cubicBezTo>
                    <a:cubicBezTo>
                      <a:pt x="27" y="90"/>
                      <a:pt x="30" y="87"/>
                      <a:pt x="33" y="87"/>
                    </a:cubicBezTo>
                    <a:cubicBezTo>
                      <a:pt x="45" y="87"/>
                      <a:pt x="57" y="81"/>
                      <a:pt x="69" y="72"/>
                    </a:cubicBezTo>
                    <a:cubicBezTo>
                      <a:pt x="77" y="72"/>
                      <a:pt x="89" y="66"/>
                      <a:pt x="101" y="63"/>
                    </a:cubicBezTo>
                    <a:cubicBezTo>
                      <a:pt x="113" y="57"/>
                      <a:pt x="119" y="51"/>
                      <a:pt x="128" y="42"/>
                    </a:cubicBezTo>
                    <a:cubicBezTo>
                      <a:pt x="140" y="33"/>
                      <a:pt x="140" y="12"/>
                      <a:pt x="140" y="0"/>
                    </a:cubicBezTo>
                    <a:cubicBezTo>
                      <a:pt x="149" y="3"/>
                      <a:pt x="158" y="3"/>
                      <a:pt x="167" y="6"/>
                    </a:cubicBezTo>
                    <a:cubicBezTo>
                      <a:pt x="179" y="6"/>
                      <a:pt x="194" y="6"/>
                      <a:pt x="206" y="6"/>
                    </a:cubicBezTo>
                    <a:cubicBezTo>
                      <a:pt x="209" y="9"/>
                      <a:pt x="209" y="12"/>
                      <a:pt x="212" y="15"/>
                    </a:cubicBezTo>
                    <a:cubicBezTo>
                      <a:pt x="218" y="18"/>
                      <a:pt x="224" y="30"/>
                      <a:pt x="218" y="42"/>
                    </a:cubicBezTo>
                    <a:cubicBezTo>
                      <a:pt x="209" y="45"/>
                      <a:pt x="203" y="48"/>
                      <a:pt x="203" y="60"/>
                    </a:cubicBezTo>
                    <a:cubicBezTo>
                      <a:pt x="200" y="60"/>
                      <a:pt x="197" y="60"/>
                      <a:pt x="197" y="63"/>
                    </a:cubicBezTo>
                    <a:cubicBezTo>
                      <a:pt x="197" y="63"/>
                      <a:pt x="197" y="63"/>
                      <a:pt x="197" y="66"/>
                    </a:cubicBezTo>
                    <a:cubicBezTo>
                      <a:pt x="203" y="69"/>
                      <a:pt x="209" y="75"/>
                      <a:pt x="215" y="78"/>
                    </a:cubicBezTo>
                    <a:cubicBezTo>
                      <a:pt x="215" y="81"/>
                      <a:pt x="215" y="81"/>
                      <a:pt x="215" y="81"/>
                    </a:cubicBezTo>
                    <a:cubicBezTo>
                      <a:pt x="224" y="87"/>
                      <a:pt x="239" y="105"/>
                      <a:pt x="254" y="93"/>
                    </a:cubicBezTo>
                    <a:cubicBezTo>
                      <a:pt x="257" y="93"/>
                      <a:pt x="260" y="96"/>
                      <a:pt x="263" y="102"/>
                    </a:cubicBezTo>
                    <a:cubicBezTo>
                      <a:pt x="269" y="105"/>
                      <a:pt x="272" y="108"/>
                      <a:pt x="278" y="114"/>
                    </a:cubicBezTo>
                    <a:cubicBezTo>
                      <a:pt x="278" y="117"/>
                      <a:pt x="278" y="117"/>
                      <a:pt x="278" y="117"/>
                    </a:cubicBezTo>
                    <a:cubicBezTo>
                      <a:pt x="272" y="123"/>
                      <a:pt x="272" y="135"/>
                      <a:pt x="269" y="141"/>
                    </a:cubicBezTo>
                    <a:cubicBezTo>
                      <a:pt x="266" y="141"/>
                      <a:pt x="263" y="138"/>
                      <a:pt x="263" y="138"/>
                    </a:cubicBezTo>
                    <a:cubicBezTo>
                      <a:pt x="251" y="126"/>
                      <a:pt x="251" y="111"/>
                      <a:pt x="236" y="117"/>
                    </a:cubicBezTo>
                    <a:cubicBezTo>
                      <a:pt x="236" y="129"/>
                      <a:pt x="236" y="141"/>
                      <a:pt x="236" y="153"/>
                    </a:cubicBezTo>
                    <a:cubicBezTo>
                      <a:pt x="233" y="159"/>
                      <a:pt x="221" y="171"/>
                      <a:pt x="212" y="177"/>
                    </a:cubicBezTo>
                    <a:cubicBezTo>
                      <a:pt x="212" y="180"/>
                      <a:pt x="212" y="186"/>
                      <a:pt x="212" y="189"/>
                    </a:cubicBezTo>
                    <a:cubicBezTo>
                      <a:pt x="215" y="192"/>
                      <a:pt x="218" y="195"/>
                      <a:pt x="224" y="198"/>
                    </a:cubicBezTo>
                    <a:cubicBezTo>
                      <a:pt x="224" y="201"/>
                      <a:pt x="227" y="210"/>
                      <a:pt x="227" y="216"/>
                    </a:cubicBezTo>
                    <a:cubicBezTo>
                      <a:pt x="230" y="216"/>
                      <a:pt x="233" y="222"/>
                      <a:pt x="242" y="222"/>
                    </a:cubicBezTo>
                    <a:cubicBezTo>
                      <a:pt x="248" y="219"/>
                      <a:pt x="245" y="216"/>
                      <a:pt x="254" y="219"/>
                    </a:cubicBezTo>
                    <a:cubicBezTo>
                      <a:pt x="257" y="225"/>
                      <a:pt x="266" y="240"/>
                      <a:pt x="260" y="252"/>
                    </a:cubicBezTo>
                    <a:cubicBezTo>
                      <a:pt x="257" y="252"/>
                      <a:pt x="245" y="258"/>
                      <a:pt x="245" y="261"/>
                    </a:cubicBezTo>
                    <a:cubicBezTo>
                      <a:pt x="242" y="264"/>
                      <a:pt x="239" y="267"/>
                      <a:pt x="239" y="27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25" name="Freeform 28"/>
              <p:cNvSpPr>
                <a:spLocks/>
              </p:cNvSpPr>
              <p:nvPr/>
            </p:nvSpPr>
            <p:spPr bwMode="auto">
              <a:xfrm>
                <a:off x="6328559" y="3583327"/>
                <a:ext cx="899813" cy="499512"/>
              </a:xfrm>
              <a:custGeom>
                <a:avLst/>
                <a:gdLst>
                  <a:gd name="T0" fmla="*/ 289977774 w 377"/>
                  <a:gd name="T1" fmla="*/ 1591997121 h 231"/>
                  <a:gd name="T2" fmla="*/ 20713260 w 377"/>
                  <a:gd name="T3" fmla="*/ 1302543129 h 231"/>
                  <a:gd name="T4" fmla="*/ 20713260 w 377"/>
                  <a:gd name="T5" fmla="*/ 1199167383 h 231"/>
                  <a:gd name="T6" fmla="*/ 41426521 w 377"/>
                  <a:gd name="T7" fmla="*/ 1116465211 h 231"/>
                  <a:gd name="T8" fmla="*/ 0 w 377"/>
                  <a:gd name="T9" fmla="*/ 1075115438 h 231"/>
                  <a:gd name="T10" fmla="*/ 331401658 w 377"/>
                  <a:gd name="T11" fmla="*/ 1033765664 h 231"/>
                  <a:gd name="T12" fmla="*/ 538529038 w 377"/>
                  <a:gd name="T13" fmla="*/ 909713719 h 231"/>
                  <a:gd name="T14" fmla="*/ 621379432 w 377"/>
                  <a:gd name="T15" fmla="*/ 847687746 h 231"/>
                  <a:gd name="T16" fmla="*/ 621379432 w 377"/>
                  <a:gd name="T17" fmla="*/ 764985574 h 231"/>
                  <a:gd name="T18" fmla="*/ 372828250 w 377"/>
                  <a:gd name="T19" fmla="*/ 537557719 h 231"/>
                  <a:gd name="T20" fmla="*/ 352114995 w 377"/>
                  <a:gd name="T21" fmla="*/ 496207946 h 231"/>
                  <a:gd name="T22" fmla="*/ 352114995 w 377"/>
                  <a:gd name="T23" fmla="*/ 330803520 h 231"/>
                  <a:gd name="T24" fmla="*/ 476389272 w 377"/>
                  <a:gd name="T25" fmla="*/ 227427773 h 231"/>
                  <a:gd name="T26" fmla="*/ 476389272 w 377"/>
                  <a:gd name="T27" fmla="*/ 62025993 h 231"/>
                  <a:gd name="T28" fmla="*/ 372828250 w 377"/>
                  <a:gd name="T29" fmla="*/ 0 h 231"/>
                  <a:gd name="T30" fmla="*/ 683516570 w 377"/>
                  <a:gd name="T31" fmla="*/ 0 h 231"/>
                  <a:gd name="T32" fmla="*/ 807793639 w 377"/>
                  <a:gd name="T33" fmla="*/ 20676204 h 231"/>
                  <a:gd name="T34" fmla="*/ 1097768704 w 377"/>
                  <a:gd name="T35" fmla="*/ 206751574 h 231"/>
                  <a:gd name="T36" fmla="*/ 1173716431 w 377"/>
                  <a:gd name="T37" fmla="*/ 248103973 h 231"/>
                  <a:gd name="T38" fmla="*/ 1567255474 w 377"/>
                  <a:gd name="T39" fmla="*/ 248103973 h 231"/>
                  <a:gd name="T40" fmla="*/ 1712243006 w 377"/>
                  <a:gd name="T41" fmla="*/ 330803520 h 231"/>
                  <a:gd name="T42" fmla="*/ 1815806655 w 377"/>
                  <a:gd name="T43" fmla="*/ 454855547 h 231"/>
                  <a:gd name="T44" fmla="*/ 2002220698 w 377"/>
                  <a:gd name="T45" fmla="*/ 475531746 h 231"/>
                  <a:gd name="T46" fmla="*/ 2147208231 w 377"/>
                  <a:gd name="T47" fmla="*/ 537557719 h 231"/>
                  <a:gd name="T48" fmla="*/ 2147483647 w 377"/>
                  <a:gd name="T49" fmla="*/ 578907492 h 231"/>
                  <a:gd name="T50" fmla="*/ 2147483647 w 377"/>
                  <a:gd name="T51" fmla="*/ 661609664 h 231"/>
                  <a:gd name="T52" fmla="*/ 2147483647 w 377"/>
                  <a:gd name="T53" fmla="*/ 723635801 h 231"/>
                  <a:gd name="T54" fmla="*/ 2147483647 w 377"/>
                  <a:gd name="T55" fmla="*/ 847687746 h 231"/>
                  <a:gd name="T56" fmla="*/ 2147483647 w 377"/>
                  <a:gd name="T57" fmla="*/ 992413266 h 231"/>
                  <a:gd name="T58" fmla="*/ 2147483647 w 377"/>
                  <a:gd name="T59" fmla="*/ 1137141410 h 231"/>
                  <a:gd name="T60" fmla="*/ 2147483647 w 377"/>
                  <a:gd name="T61" fmla="*/ 1157814985 h 231"/>
                  <a:gd name="T62" fmla="*/ 2147483647 w 377"/>
                  <a:gd name="T63" fmla="*/ 1343892903 h 231"/>
                  <a:gd name="T64" fmla="*/ 2126497603 w 377"/>
                  <a:gd name="T65" fmla="*/ 1426595403 h 231"/>
                  <a:gd name="T66" fmla="*/ 1919370304 w 377"/>
                  <a:gd name="T67" fmla="*/ 1529971149 h 231"/>
                  <a:gd name="T68" fmla="*/ 1877946421 w 377"/>
                  <a:gd name="T69" fmla="*/ 1550647348 h 231"/>
                  <a:gd name="T70" fmla="*/ 1774382772 w 377"/>
                  <a:gd name="T71" fmla="*/ 1447268977 h 231"/>
                  <a:gd name="T72" fmla="*/ 1546542218 w 377"/>
                  <a:gd name="T73" fmla="*/ 1302543129 h 231"/>
                  <a:gd name="T74" fmla="*/ 1422267941 w 377"/>
                  <a:gd name="T75" fmla="*/ 1385245629 h 231"/>
                  <a:gd name="T76" fmla="*/ 994205055 w 377"/>
                  <a:gd name="T77" fmla="*/ 1199167383 h 231"/>
                  <a:gd name="T78" fmla="*/ 787080384 w 377"/>
                  <a:gd name="T79" fmla="*/ 1157814985 h 231"/>
                  <a:gd name="T80" fmla="*/ 704229990 w 377"/>
                  <a:gd name="T81" fmla="*/ 1302543129 h 231"/>
                  <a:gd name="T82" fmla="*/ 683516570 w 377"/>
                  <a:gd name="T83" fmla="*/ 1343892903 h 231"/>
                  <a:gd name="T84" fmla="*/ 642092687 w 377"/>
                  <a:gd name="T85" fmla="*/ 1343892903 h 231"/>
                  <a:gd name="T86" fmla="*/ 352114995 w 377"/>
                  <a:gd name="T87" fmla="*/ 1550647348 h 231"/>
                  <a:gd name="T88" fmla="*/ 289977774 w 377"/>
                  <a:gd name="T89" fmla="*/ 1591997121 h 23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77"/>
                  <a:gd name="T136" fmla="*/ 0 h 231"/>
                  <a:gd name="T137" fmla="*/ 377 w 377"/>
                  <a:gd name="T138" fmla="*/ 231 h 23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77" h="231">
                    <a:moveTo>
                      <a:pt x="42" y="231"/>
                    </a:moveTo>
                    <a:cubicBezTo>
                      <a:pt x="33" y="213"/>
                      <a:pt x="15" y="201"/>
                      <a:pt x="3" y="189"/>
                    </a:cubicBezTo>
                    <a:cubicBezTo>
                      <a:pt x="0" y="180"/>
                      <a:pt x="3" y="180"/>
                      <a:pt x="3" y="174"/>
                    </a:cubicBezTo>
                    <a:cubicBezTo>
                      <a:pt x="3" y="171"/>
                      <a:pt x="3" y="168"/>
                      <a:pt x="6" y="162"/>
                    </a:cubicBezTo>
                    <a:cubicBezTo>
                      <a:pt x="3" y="159"/>
                      <a:pt x="3" y="156"/>
                      <a:pt x="0" y="156"/>
                    </a:cubicBezTo>
                    <a:cubicBezTo>
                      <a:pt x="9" y="147"/>
                      <a:pt x="36" y="150"/>
                      <a:pt x="48" y="150"/>
                    </a:cubicBezTo>
                    <a:cubicBezTo>
                      <a:pt x="60" y="147"/>
                      <a:pt x="69" y="141"/>
                      <a:pt x="78" y="132"/>
                    </a:cubicBezTo>
                    <a:cubicBezTo>
                      <a:pt x="81" y="129"/>
                      <a:pt x="87" y="126"/>
                      <a:pt x="90" y="123"/>
                    </a:cubicBezTo>
                    <a:cubicBezTo>
                      <a:pt x="90" y="117"/>
                      <a:pt x="90" y="114"/>
                      <a:pt x="90" y="111"/>
                    </a:cubicBezTo>
                    <a:cubicBezTo>
                      <a:pt x="81" y="93"/>
                      <a:pt x="66" y="84"/>
                      <a:pt x="54" y="78"/>
                    </a:cubicBezTo>
                    <a:cubicBezTo>
                      <a:pt x="54" y="75"/>
                      <a:pt x="51" y="72"/>
                      <a:pt x="51" y="72"/>
                    </a:cubicBezTo>
                    <a:cubicBezTo>
                      <a:pt x="51" y="63"/>
                      <a:pt x="51" y="54"/>
                      <a:pt x="51" y="48"/>
                    </a:cubicBezTo>
                    <a:cubicBezTo>
                      <a:pt x="57" y="42"/>
                      <a:pt x="60" y="36"/>
                      <a:pt x="69" y="33"/>
                    </a:cubicBezTo>
                    <a:cubicBezTo>
                      <a:pt x="81" y="27"/>
                      <a:pt x="72" y="15"/>
                      <a:pt x="69" y="9"/>
                    </a:cubicBezTo>
                    <a:cubicBezTo>
                      <a:pt x="63" y="6"/>
                      <a:pt x="57" y="3"/>
                      <a:pt x="54" y="0"/>
                    </a:cubicBezTo>
                    <a:cubicBezTo>
                      <a:pt x="69" y="0"/>
                      <a:pt x="84" y="0"/>
                      <a:pt x="99" y="0"/>
                    </a:cubicBezTo>
                    <a:cubicBezTo>
                      <a:pt x="105" y="0"/>
                      <a:pt x="111" y="0"/>
                      <a:pt x="117" y="3"/>
                    </a:cubicBezTo>
                    <a:cubicBezTo>
                      <a:pt x="123" y="12"/>
                      <a:pt x="141" y="27"/>
                      <a:pt x="159" y="30"/>
                    </a:cubicBezTo>
                    <a:cubicBezTo>
                      <a:pt x="162" y="33"/>
                      <a:pt x="164" y="33"/>
                      <a:pt x="170" y="36"/>
                    </a:cubicBezTo>
                    <a:cubicBezTo>
                      <a:pt x="188" y="36"/>
                      <a:pt x="209" y="36"/>
                      <a:pt x="227" y="36"/>
                    </a:cubicBezTo>
                    <a:cubicBezTo>
                      <a:pt x="236" y="42"/>
                      <a:pt x="242" y="45"/>
                      <a:pt x="248" y="48"/>
                    </a:cubicBezTo>
                    <a:cubicBezTo>
                      <a:pt x="248" y="54"/>
                      <a:pt x="254" y="60"/>
                      <a:pt x="263" y="66"/>
                    </a:cubicBezTo>
                    <a:cubicBezTo>
                      <a:pt x="272" y="69"/>
                      <a:pt x="281" y="69"/>
                      <a:pt x="290" y="69"/>
                    </a:cubicBezTo>
                    <a:cubicBezTo>
                      <a:pt x="296" y="72"/>
                      <a:pt x="302" y="75"/>
                      <a:pt x="311" y="78"/>
                    </a:cubicBezTo>
                    <a:cubicBezTo>
                      <a:pt x="311" y="81"/>
                      <a:pt x="323" y="78"/>
                      <a:pt x="335" y="84"/>
                    </a:cubicBezTo>
                    <a:cubicBezTo>
                      <a:pt x="335" y="87"/>
                      <a:pt x="335" y="90"/>
                      <a:pt x="341" y="96"/>
                    </a:cubicBezTo>
                    <a:cubicBezTo>
                      <a:pt x="344" y="96"/>
                      <a:pt x="359" y="96"/>
                      <a:pt x="359" y="105"/>
                    </a:cubicBezTo>
                    <a:cubicBezTo>
                      <a:pt x="353" y="114"/>
                      <a:pt x="353" y="111"/>
                      <a:pt x="353" y="123"/>
                    </a:cubicBezTo>
                    <a:cubicBezTo>
                      <a:pt x="353" y="129"/>
                      <a:pt x="362" y="132"/>
                      <a:pt x="365" y="144"/>
                    </a:cubicBezTo>
                    <a:cubicBezTo>
                      <a:pt x="365" y="150"/>
                      <a:pt x="365" y="159"/>
                      <a:pt x="377" y="165"/>
                    </a:cubicBezTo>
                    <a:cubicBezTo>
                      <a:pt x="377" y="165"/>
                      <a:pt x="377" y="165"/>
                      <a:pt x="377" y="168"/>
                    </a:cubicBezTo>
                    <a:cubicBezTo>
                      <a:pt x="350" y="171"/>
                      <a:pt x="344" y="180"/>
                      <a:pt x="320" y="195"/>
                    </a:cubicBezTo>
                    <a:cubicBezTo>
                      <a:pt x="314" y="198"/>
                      <a:pt x="311" y="201"/>
                      <a:pt x="308" y="207"/>
                    </a:cubicBezTo>
                    <a:cubicBezTo>
                      <a:pt x="293" y="213"/>
                      <a:pt x="287" y="207"/>
                      <a:pt x="278" y="222"/>
                    </a:cubicBezTo>
                    <a:cubicBezTo>
                      <a:pt x="275" y="222"/>
                      <a:pt x="275" y="222"/>
                      <a:pt x="272" y="225"/>
                    </a:cubicBezTo>
                    <a:cubicBezTo>
                      <a:pt x="266" y="219"/>
                      <a:pt x="263" y="213"/>
                      <a:pt x="257" y="210"/>
                    </a:cubicBezTo>
                    <a:cubicBezTo>
                      <a:pt x="239" y="207"/>
                      <a:pt x="233" y="195"/>
                      <a:pt x="224" y="189"/>
                    </a:cubicBezTo>
                    <a:cubicBezTo>
                      <a:pt x="212" y="189"/>
                      <a:pt x="212" y="192"/>
                      <a:pt x="206" y="201"/>
                    </a:cubicBezTo>
                    <a:cubicBezTo>
                      <a:pt x="179" y="201"/>
                      <a:pt x="159" y="183"/>
                      <a:pt x="144" y="174"/>
                    </a:cubicBezTo>
                    <a:cubicBezTo>
                      <a:pt x="132" y="174"/>
                      <a:pt x="123" y="171"/>
                      <a:pt x="114" y="168"/>
                    </a:cubicBezTo>
                    <a:cubicBezTo>
                      <a:pt x="93" y="168"/>
                      <a:pt x="87" y="171"/>
                      <a:pt x="102" y="189"/>
                    </a:cubicBezTo>
                    <a:cubicBezTo>
                      <a:pt x="102" y="192"/>
                      <a:pt x="102" y="192"/>
                      <a:pt x="99" y="195"/>
                    </a:cubicBezTo>
                    <a:cubicBezTo>
                      <a:pt x="96" y="195"/>
                      <a:pt x="93" y="195"/>
                      <a:pt x="93" y="195"/>
                    </a:cubicBezTo>
                    <a:cubicBezTo>
                      <a:pt x="66" y="195"/>
                      <a:pt x="60" y="204"/>
                      <a:pt x="51" y="225"/>
                    </a:cubicBezTo>
                    <a:cubicBezTo>
                      <a:pt x="45" y="228"/>
                      <a:pt x="45" y="231"/>
                      <a:pt x="42" y="23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26" name="Freeform 9"/>
              <p:cNvSpPr>
                <a:spLocks/>
              </p:cNvSpPr>
              <p:nvPr/>
            </p:nvSpPr>
            <p:spPr bwMode="auto">
              <a:xfrm>
                <a:off x="2899465" y="3011897"/>
                <a:ext cx="2333169" cy="1291933"/>
              </a:xfrm>
              <a:custGeom>
                <a:avLst/>
                <a:gdLst>
                  <a:gd name="T0" fmla="*/ 2147483647 w 978"/>
                  <a:gd name="T1" fmla="*/ 2147483647 h 597"/>
                  <a:gd name="T2" fmla="*/ 2147483647 w 978"/>
                  <a:gd name="T3" fmla="*/ 2147483647 h 597"/>
                  <a:gd name="T4" fmla="*/ 2147483647 w 978"/>
                  <a:gd name="T5" fmla="*/ 2147483647 h 597"/>
                  <a:gd name="T6" fmla="*/ 2147483647 w 978"/>
                  <a:gd name="T7" fmla="*/ 2147483647 h 597"/>
                  <a:gd name="T8" fmla="*/ 2147483647 w 978"/>
                  <a:gd name="T9" fmla="*/ 2147483647 h 597"/>
                  <a:gd name="T10" fmla="*/ 2147483647 w 978"/>
                  <a:gd name="T11" fmla="*/ 2147483647 h 597"/>
                  <a:gd name="T12" fmla="*/ 2147483647 w 978"/>
                  <a:gd name="T13" fmla="*/ 2147483647 h 597"/>
                  <a:gd name="T14" fmla="*/ 2147483647 w 978"/>
                  <a:gd name="T15" fmla="*/ 2147483647 h 597"/>
                  <a:gd name="T16" fmla="*/ 2147483647 w 978"/>
                  <a:gd name="T17" fmla="*/ 2147483647 h 597"/>
                  <a:gd name="T18" fmla="*/ 2147483647 w 978"/>
                  <a:gd name="T19" fmla="*/ 2147483647 h 597"/>
                  <a:gd name="T20" fmla="*/ 2147483647 w 978"/>
                  <a:gd name="T21" fmla="*/ 2147483647 h 597"/>
                  <a:gd name="T22" fmla="*/ 2103810132 w 978"/>
                  <a:gd name="T23" fmla="*/ 2147483647 h 597"/>
                  <a:gd name="T24" fmla="*/ 1958958822 w 978"/>
                  <a:gd name="T25" fmla="*/ 2147483647 h 597"/>
                  <a:gd name="T26" fmla="*/ 1689946619 w 978"/>
                  <a:gd name="T27" fmla="*/ 2147483647 h 597"/>
                  <a:gd name="T28" fmla="*/ 1503706593 w 978"/>
                  <a:gd name="T29" fmla="*/ 2147483647 h 597"/>
                  <a:gd name="T30" fmla="*/ 1276082777 w 978"/>
                  <a:gd name="T31" fmla="*/ 2147483647 h 597"/>
                  <a:gd name="T32" fmla="*/ 1013967380 w 978"/>
                  <a:gd name="T33" fmla="*/ 2112097683 h 597"/>
                  <a:gd name="T34" fmla="*/ 786341266 w 978"/>
                  <a:gd name="T35" fmla="*/ 2147483647 h 597"/>
                  <a:gd name="T36" fmla="*/ 538024570 w 978"/>
                  <a:gd name="T37" fmla="*/ 1905030841 h 597"/>
                  <a:gd name="T38" fmla="*/ 82772198 w 978"/>
                  <a:gd name="T39" fmla="*/ 1573720215 h 597"/>
                  <a:gd name="T40" fmla="*/ 124158307 w 978"/>
                  <a:gd name="T41" fmla="*/ 1345945310 h 597"/>
                  <a:gd name="T42" fmla="*/ 165547022 w 978"/>
                  <a:gd name="T43" fmla="*/ 973221842 h 597"/>
                  <a:gd name="T44" fmla="*/ 372477589 w 978"/>
                  <a:gd name="T45" fmla="*/ 1076755263 h 597"/>
                  <a:gd name="T46" fmla="*/ 393170633 w 978"/>
                  <a:gd name="T47" fmla="*/ 745447265 h 597"/>
                  <a:gd name="T48" fmla="*/ 372477589 w 978"/>
                  <a:gd name="T49" fmla="*/ 352015897 h 597"/>
                  <a:gd name="T50" fmla="*/ 558717614 w 978"/>
                  <a:gd name="T51" fmla="*/ 352015897 h 597"/>
                  <a:gd name="T52" fmla="*/ 786341266 w 978"/>
                  <a:gd name="T53" fmla="*/ 248482394 h 597"/>
                  <a:gd name="T54" fmla="*/ 1096739558 w 978"/>
                  <a:gd name="T55" fmla="*/ 20707740 h 597"/>
                  <a:gd name="T56" fmla="*/ 1420934416 w 978"/>
                  <a:gd name="T57" fmla="*/ 144948932 h 597"/>
                  <a:gd name="T58" fmla="*/ 1752025752 w 978"/>
                  <a:gd name="T59" fmla="*/ 82828334 h 597"/>
                  <a:gd name="T60" fmla="*/ 1979651866 w 978"/>
                  <a:gd name="T61" fmla="*/ 289895237 h 597"/>
                  <a:gd name="T62" fmla="*/ 2147483647 w 978"/>
                  <a:gd name="T63" fmla="*/ 227774659 h 597"/>
                  <a:gd name="T64" fmla="*/ 2147483647 w 978"/>
                  <a:gd name="T65" fmla="*/ 248482394 h 597"/>
                  <a:gd name="T66" fmla="*/ 2147483647 w 978"/>
                  <a:gd name="T67" fmla="*/ 103533462 h 597"/>
                  <a:gd name="T68" fmla="*/ 2147483647 w 978"/>
                  <a:gd name="T69" fmla="*/ 124241197 h 597"/>
                  <a:gd name="T70" fmla="*/ 2147483647 w 978"/>
                  <a:gd name="T71" fmla="*/ 310602972 h 597"/>
                  <a:gd name="T72" fmla="*/ 2147483647 w 978"/>
                  <a:gd name="T73" fmla="*/ 641911052 h 597"/>
                  <a:gd name="T74" fmla="*/ 2147483647 w 978"/>
                  <a:gd name="T75" fmla="*/ 1428771324 h 597"/>
                  <a:gd name="T76" fmla="*/ 2147483647 w 978"/>
                  <a:gd name="T77" fmla="*/ 1553012480 h 597"/>
                  <a:gd name="T78" fmla="*/ 2147483647 w 978"/>
                  <a:gd name="T79" fmla="*/ 1905030841 h 597"/>
                  <a:gd name="T80" fmla="*/ 2147483647 w 978"/>
                  <a:gd name="T81" fmla="*/ 1925735949 h 597"/>
                  <a:gd name="T82" fmla="*/ 2147483647 w 978"/>
                  <a:gd name="T83" fmla="*/ 2147483647 h 597"/>
                  <a:gd name="T84" fmla="*/ 2147483647 w 978"/>
                  <a:gd name="T85" fmla="*/ 2147483647 h 597"/>
                  <a:gd name="T86" fmla="*/ 2147483647 w 978"/>
                  <a:gd name="T87" fmla="*/ 2147483647 h 597"/>
                  <a:gd name="T88" fmla="*/ 2147483647 w 978"/>
                  <a:gd name="T89" fmla="*/ 2147483647 h 597"/>
                  <a:gd name="T90" fmla="*/ 2147483647 w 978"/>
                  <a:gd name="T91" fmla="*/ 2091389948 h 597"/>
                  <a:gd name="T92" fmla="*/ 2147483647 w 978"/>
                  <a:gd name="T93" fmla="*/ 2147483647 h 597"/>
                  <a:gd name="T94" fmla="*/ 2147483647 w 978"/>
                  <a:gd name="T95" fmla="*/ 2147483647 h 597"/>
                  <a:gd name="T96" fmla="*/ 2147483647 w 978"/>
                  <a:gd name="T97" fmla="*/ 2147483647 h 597"/>
                  <a:gd name="T98" fmla="*/ 2147483647 w 978"/>
                  <a:gd name="T99" fmla="*/ 2147483647 h 597"/>
                  <a:gd name="T100" fmla="*/ 2147483647 w 978"/>
                  <a:gd name="T101" fmla="*/ 2147483647 h 597"/>
                  <a:gd name="T102" fmla="*/ 2147483647 w 978"/>
                  <a:gd name="T103" fmla="*/ 2147483647 h 597"/>
                  <a:gd name="T104" fmla="*/ 2147483647 w 978"/>
                  <a:gd name="T105" fmla="*/ 2147483647 h 597"/>
                  <a:gd name="T106" fmla="*/ 2147483647 w 978"/>
                  <a:gd name="T107" fmla="*/ 2147483647 h 597"/>
                  <a:gd name="T108" fmla="*/ 2147483647 w 978"/>
                  <a:gd name="T109" fmla="*/ 2147483647 h 597"/>
                  <a:gd name="T110" fmla="*/ 2147483647 w 978"/>
                  <a:gd name="T111" fmla="*/ 2147483647 h 597"/>
                  <a:gd name="T112" fmla="*/ 2147483647 w 978"/>
                  <a:gd name="T113" fmla="*/ 2147483647 h 597"/>
                  <a:gd name="T114" fmla="*/ 2147483647 w 978"/>
                  <a:gd name="T115" fmla="*/ 2147483647 h 597"/>
                  <a:gd name="T116" fmla="*/ 2147483647 w 978"/>
                  <a:gd name="T117" fmla="*/ 2147483647 h 59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978"/>
                  <a:gd name="T178" fmla="*/ 0 h 597"/>
                  <a:gd name="T179" fmla="*/ 978 w 978"/>
                  <a:gd name="T180" fmla="*/ 597 h 59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978" h="597">
                    <a:moveTo>
                      <a:pt x="676" y="597"/>
                    </a:moveTo>
                    <a:cubicBezTo>
                      <a:pt x="670" y="591"/>
                      <a:pt x="637" y="594"/>
                      <a:pt x="634" y="594"/>
                    </a:cubicBezTo>
                    <a:cubicBezTo>
                      <a:pt x="631" y="594"/>
                      <a:pt x="628" y="594"/>
                      <a:pt x="628" y="597"/>
                    </a:cubicBezTo>
                    <a:cubicBezTo>
                      <a:pt x="598" y="594"/>
                      <a:pt x="613" y="582"/>
                      <a:pt x="619" y="567"/>
                    </a:cubicBezTo>
                    <a:cubicBezTo>
                      <a:pt x="619" y="564"/>
                      <a:pt x="619" y="561"/>
                      <a:pt x="619" y="558"/>
                    </a:cubicBezTo>
                    <a:cubicBezTo>
                      <a:pt x="598" y="552"/>
                      <a:pt x="601" y="546"/>
                      <a:pt x="598" y="534"/>
                    </a:cubicBezTo>
                    <a:cubicBezTo>
                      <a:pt x="595" y="534"/>
                      <a:pt x="595" y="531"/>
                      <a:pt x="595" y="531"/>
                    </a:cubicBezTo>
                    <a:cubicBezTo>
                      <a:pt x="583" y="531"/>
                      <a:pt x="577" y="528"/>
                      <a:pt x="568" y="528"/>
                    </a:cubicBezTo>
                    <a:cubicBezTo>
                      <a:pt x="565" y="522"/>
                      <a:pt x="562" y="519"/>
                      <a:pt x="559" y="516"/>
                    </a:cubicBezTo>
                    <a:cubicBezTo>
                      <a:pt x="547" y="510"/>
                      <a:pt x="535" y="504"/>
                      <a:pt x="529" y="501"/>
                    </a:cubicBezTo>
                    <a:cubicBezTo>
                      <a:pt x="526" y="498"/>
                      <a:pt x="526" y="498"/>
                      <a:pt x="523" y="498"/>
                    </a:cubicBezTo>
                    <a:cubicBezTo>
                      <a:pt x="517" y="498"/>
                      <a:pt x="511" y="498"/>
                      <a:pt x="505" y="498"/>
                    </a:cubicBezTo>
                    <a:cubicBezTo>
                      <a:pt x="496" y="504"/>
                      <a:pt x="493" y="510"/>
                      <a:pt x="484" y="516"/>
                    </a:cubicBezTo>
                    <a:cubicBezTo>
                      <a:pt x="481" y="516"/>
                      <a:pt x="478" y="519"/>
                      <a:pt x="475" y="522"/>
                    </a:cubicBezTo>
                    <a:cubicBezTo>
                      <a:pt x="475" y="525"/>
                      <a:pt x="472" y="525"/>
                      <a:pt x="472" y="528"/>
                    </a:cubicBezTo>
                    <a:cubicBezTo>
                      <a:pt x="472" y="534"/>
                      <a:pt x="469" y="543"/>
                      <a:pt x="469" y="549"/>
                    </a:cubicBezTo>
                    <a:cubicBezTo>
                      <a:pt x="446" y="546"/>
                      <a:pt x="451" y="525"/>
                      <a:pt x="457" y="510"/>
                    </a:cubicBezTo>
                    <a:cubicBezTo>
                      <a:pt x="457" y="507"/>
                      <a:pt x="457" y="504"/>
                      <a:pt x="457" y="504"/>
                    </a:cubicBezTo>
                    <a:cubicBezTo>
                      <a:pt x="448" y="495"/>
                      <a:pt x="448" y="498"/>
                      <a:pt x="440" y="495"/>
                    </a:cubicBezTo>
                    <a:cubicBezTo>
                      <a:pt x="419" y="501"/>
                      <a:pt x="410" y="501"/>
                      <a:pt x="395" y="510"/>
                    </a:cubicBezTo>
                    <a:cubicBezTo>
                      <a:pt x="380" y="510"/>
                      <a:pt x="374" y="498"/>
                      <a:pt x="371" y="492"/>
                    </a:cubicBezTo>
                    <a:cubicBezTo>
                      <a:pt x="368" y="489"/>
                      <a:pt x="365" y="486"/>
                      <a:pt x="362" y="483"/>
                    </a:cubicBezTo>
                    <a:cubicBezTo>
                      <a:pt x="350" y="483"/>
                      <a:pt x="335" y="483"/>
                      <a:pt x="323" y="483"/>
                    </a:cubicBezTo>
                    <a:cubicBezTo>
                      <a:pt x="311" y="477"/>
                      <a:pt x="311" y="462"/>
                      <a:pt x="305" y="456"/>
                    </a:cubicBezTo>
                    <a:cubicBezTo>
                      <a:pt x="296" y="453"/>
                      <a:pt x="296" y="453"/>
                      <a:pt x="293" y="447"/>
                    </a:cubicBezTo>
                    <a:cubicBezTo>
                      <a:pt x="290" y="444"/>
                      <a:pt x="287" y="441"/>
                      <a:pt x="284" y="438"/>
                    </a:cubicBezTo>
                    <a:cubicBezTo>
                      <a:pt x="275" y="435"/>
                      <a:pt x="269" y="435"/>
                      <a:pt x="263" y="432"/>
                    </a:cubicBezTo>
                    <a:cubicBezTo>
                      <a:pt x="242" y="414"/>
                      <a:pt x="248" y="411"/>
                      <a:pt x="245" y="393"/>
                    </a:cubicBezTo>
                    <a:cubicBezTo>
                      <a:pt x="242" y="390"/>
                      <a:pt x="242" y="387"/>
                      <a:pt x="239" y="384"/>
                    </a:cubicBezTo>
                    <a:cubicBezTo>
                      <a:pt x="233" y="384"/>
                      <a:pt x="224" y="384"/>
                      <a:pt x="218" y="384"/>
                    </a:cubicBezTo>
                    <a:cubicBezTo>
                      <a:pt x="200" y="378"/>
                      <a:pt x="203" y="372"/>
                      <a:pt x="200" y="363"/>
                    </a:cubicBezTo>
                    <a:cubicBezTo>
                      <a:pt x="194" y="357"/>
                      <a:pt x="188" y="354"/>
                      <a:pt x="185" y="351"/>
                    </a:cubicBezTo>
                    <a:cubicBezTo>
                      <a:pt x="176" y="345"/>
                      <a:pt x="170" y="339"/>
                      <a:pt x="164" y="333"/>
                    </a:cubicBezTo>
                    <a:cubicBezTo>
                      <a:pt x="159" y="324"/>
                      <a:pt x="153" y="315"/>
                      <a:pt x="147" y="306"/>
                    </a:cubicBezTo>
                    <a:cubicBezTo>
                      <a:pt x="138" y="306"/>
                      <a:pt x="135" y="306"/>
                      <a:pt x="129" y="309"/>
                    </a:cubicBezTo>
                    <a:cubicBezTo>
                      <a:pt x="123" y="309"/>
                      <a:pt x="120" y="312"/>
                      <a:pt x="114" y="315"/>
                    </a:cubicBezTo>
                    <a:cubicBezTo>
                      <a:pt x="108" y="315"/>
                      <a:pt x="102" y="315"/>
                      <a:pt x="96" y="315"/>
                    </a:cubicBezTo>
                    <a:cubicBezTo>
                      <a:pt x="81" y="303"/>
                      <a:pt x="78" y="288"/>
                      <a:pt x="78" y="276"/>
                    </a:cubicBezTo>
                    <a:cubicBezTo>
                      <a:pt x="72" y="270"/>
                      <a:pt x="66" y="261"/>
                      <a:pt x="63" y="252"/>
                    </a:cubicBezTo>
                    <a:cubicBezTo>
                      <a:pt x="48" y="237"/>
                      <a:pt x="27" y="231"/>
                      <a:pt x="12" y="228"/>
                    </a:cubicBezTo>
                    <a:cubicBezTo>
                      <a:pt x="0" y="219"/>
                      <a:pt x="6" y="213"/>
                      <a:pt x="9" y="207"/>
                    </a:cubicBezTo>
                    <a:cubicBezTo>
                      <a:pt x="15" y="204"/>
                      <a:pt x="18" y="195"/>
                      <a:pt x="18" y="195"/>
                    </a:cubicBezTo>
                    <a:cubicBezTo>
                      <a:pt x="18" y="183"/>
                      <a:pt x="18" y="171"/>
                      <a:pt x="18" y="159"/>
                    </a:cubicBezTo>
                    <a:cubicBezTo>
                      <a:pt x="12" y="141"/>
                      <a:pt x="9" y="141"/>
                      <a:pt x="24" y="141"/>
                    </a:cubicBezTo>
                    <a:cubicBezTo>
                      <a:pt x="27" y="141"/>
                      <a:pt x="27" y="144"/>
                      <a:pt x="30" y="144"/>
                    </a:cubicBezTo>
                    <a:cubicBezTo>
                      <a:pt x="33" y="150"/>
                      <a:pt x="42" y="171"/>
                      <a:pt x="54" y="156"/>
                    </a:cubicBezTo>
                    <a:cubicBezTo>
                      <a:pt x="54" y="150"/>
                      <a:pt x="57" y="144"/>
                      <a:pt x="57" y="141"/>
                    </a:cubicBezTo>
                    <a:cubicBezTo>
                      <a:pt x="57" y="129"/>
                      <a:pt x="57" y="120"/>
                      <a:pt x="57" y="108"/>
                    </a:cubicBezTo>
                    <a:cubicBezTo>
                      <a:pt x="51" y="99"/>
                      <a:pt x="48" y="93"/>
                      <a:pt x="45" y="84"/>
                    </a:cubicBezTo>
                    <a:cubicBezTo>
                      <a:pt x="42" y="66"/>
                      <a:pt x="45" y="57"/>
                      <a:pt x="54" y="51"/>
                    </a:cubicBezTo>
                    <a:cubicBezTo>
                      <a:pt x="57" y="48"/>
                      <a:pt x="57" y="45"/>
                      <a:pt x="60" y="42"/>
                    </a:cubicBezTo>
                    <a:cubicBezTo>
                      <a:pt x="66" y="45"/>
                      <a:pt x="72" y="48"/>
                      <a:pt x="81" y="51"/>
                    </a:cubicBezTo>
                    <a:cubicBezTo>
                      <a:pt x="84" y="51"/>
                      <a:pt x="90" y="51"/>
                      <a:pt x="99" y="51"/>
                    </a:cubicBezTo>
                    <a:cubicBezTo>
                      <a:pt x="102" y="45"/>
                      <a:pt x="108" y="42"/>
                      <a:pt x="114" y="36"/>
                    </a:cubicBezTo>
                    <a:cubicBezTo>
                      <a:pt x="120" y="18"/>
                      <a:pt x="126" y="9"/>
                      <a:pt x="144" y="0"/>
                    </a:cubicBezTo>
                    <a:cubicBezTo>
                      <a:pt x="150" y="0"/>
                      <a:pt x="150" y="0"/>
                      <a:pt x="159" y="3"/>
                    </a:cubicBezTo>
                    <a:cubicBezTo>
                      <a:pt x="164" y="9"/>
                      <a:pt x="173" y="12"/>
                      <a:pt x="182" y="18"/>
                    </a:cubicBezTo>
                    <a:cubicBezTo>
                      <a:pt x="182" y="30"/>
                      <a:pt x="197" y="24"/>
                      <a:pt x="206" y="21"/>
                    </a:cubicBezTo>
                    <a:cubicBezTo>
                      <a:pt x="212" y="21"/>
                      <a:pt x="218" y="18"/>
                      <a:pt x="224" y="18"/>
                    </a:cubicBezTo>
                    <a:cubicBezTo>
                      <a:pt x="236" y="6"/>
                      <a:pt x="236" y="0"/>
                      <a:pt x="254" y="12"/>
                    </a:cubicBezTo>
                    <a:cubicBezTo>
                      <a:pt x="254" y="27"/>
                      <a:pt x="254" y="24"/>
                      <a:pt x="269" y="36"/>
                    </a:cubicBezTo>
                    <a:cubicBezTo>
                      <a:pt x="275" y="36"/>
                      <a:pt x="281" y="39"/>
                      <a:pt x="287" y="42"/>
                    </a:cubicBezTo>
                    <a:cubicBezTo>
                      <a:pt x="293" y="42"/>
                      <a:pt x="296" y="42"/>
                      <a:pt x="302" y="42"/>
                    </a:cubicBezTo>
                    <a:cubicBezTo>
                      <a:pt x="311" y="39"/>
                      <a:pt x="320" y="33"/>
                      <a:pt x="335" y="33"/>
                    </a:cubicBezTo>
                    <a:cubicBezTo>
                      <a:pt x="353" y="27"/>
                      <a:pt x="350" y="24"/>
                      <a:pt x="371" y="33"/>
                    </a:cubicBezTo>
                    <a:cubicBezTo>
                      <a:pt x="380" y="33"/>
                      <a:pt x="386" y="33"/>
                      <a:pt x="392" y="36"/>
                    </a:cubicBezTo>
                    <a:cubicBezTo>
                      <a:pt x="401" y="30"/>
                      <a:pt x="398" y="24"/>
                      <a:pt x="407" y="21"/>
                    </a:cubicBezTo>
                    <a:cubicBezTo>
                      <a:pt x="422" y="9"/>
                      <a:pt x="431" y="3"/>
                      <a:pt x="454" y="15"/>
                    </a:cubicBezTo>
                    <a:cubicBezTo>
                      <a:pt x="469" y="15"/>
                      <a:pt x="493" y="12"/>
                      <a:pt x="514" y="12"/>
                    </a:cubicBezTo>
                    <a:cubicBezTo>
                      <a:pt x="517" y="15"/>
                      <a:pt x="523" y="18"/>
                      <a:pt x="526" y="18"/>
                    </a:cubicBezTo>
                    <a:cubicBezTo>
                      <a:pt x="532" y="24"/>
                      <a:pt x="538" y="30"/>
                      <a:pt x="547" y="33"/>
                    </a:cubicBezTo>
                    <a:cubicBezTo>
                      <a:pt x="547" y="36"/>
                      <a:pt x="547" y="42"/>
                      <a:pt x="547" y="45"/>
                    </a:cubicBezTo>
                    <a:cubicBezTo>
                      <a:pt x="553" y="51"/>
                      <a:pt x="565" y="60"/>
                      <a:pt x="559" y="75"/>
                    </a:cubicBezTo>
                    <a:cubicBezTo>
                      <a:pt x="556" y="81"/>
                      <a:pt x="553" y="87"/>
                      <a:pt x="550" y="93"/>
                    </a:cubicBezTo>
                    <a:cubicBezTo>
                      <a:pt x="550" y="99"/>
                      <a:pt x="550" y="105"/>
                      <a:pt x="550" y="111"/>
                    </a:cubicBezTo>
                    <a:cubicBezTo>
                      <a:pt x="553" y="144"/>
                      <a:pt x="547" y="177"/>
                      <a:pt x="577" y="207"/>
                    </a:cubicBezTo>
                    <a:cubicBezTo>
                      <a:pt x="580" y="210"/>
                      <a:pt x="592" y="216"/>
                      <a:pt x="601" y="219"/>
                    </a:cubicBezTo>
                    <a:cubicBezTo>
                      <a:pt x="607" y="222"/>
                      <a:pt x="616" y="222"/>
                      <a:pt x="622" y="225"/>
                    </a:cubicBezTo>
                    <a:cubicBezTo>
                      <a:pt x="634" y="243"/>
                      <a:pt x="649" y="252"/>
                      <a:pt x="676" y="255"/>
                    </a:cubicBezTo>
                    <a:cubicBezTo>
                      <a:pt x="688" y="264"/>
                      <a:pt x="694" y="273"/>
                      <a:pt x="715" y="276"/>
                    </a:cubicBezTo>
                    <a:cubicBezTo>
                      <a:pt x="733" y="273"/>
                      <a:pt x="750" y="273"/>
                      <a:pt x="768" y="273"/>
                    </a:cubicBezTo>
                    <a:cubicBezTo>
                      <a:pt x="771" y="276"/>
                      <a:pt x="774" y="276"/>
                      <a:pt x="780" y="279"/>
                    </a:cubicBezTo>
                    <a:cubicBezTo>
                      <a:pt x="783" y="282"/>
                      <a:pt x="789" y="285"/>
                      <a:pt x="795" y="288"/>
                    </a:cubicBezTo>
                    <a:cubicBezTo>
                      <a:pt x="798" y="297"/>
                      <a:pt x="804" y="303"/>
                      <a:pt x="807" y="312"/>
                    </a:cubicBezTo>
                    <a:cubicBezTo>
                      <a:pt x="810" y="327"/>
                      <a:pt x="810" y="327"/>
                      <a:pt x="825" y="342"/>
                    </a:cubicBezTo>
                    <a:cubicBezTo>
                      <a:pt x="828" y="342"/>
                      <a:pt x="834" y="342"/>
                      <a:pt x="837" y="342"/>
                    </a:cubicBezTo>
                    <a:cubicBezTo>
                      <a:pt x="837" y="339"/>
                      <a:pt x="840" y="336"/>
                      <a:pt x="843" y="333"/>
                    </a:cubicBezTo>
                    <a:cubicBezTo>
                      <a:pt x="846" y="333"/>
                      <a:pt x="849" y="330"/>
                      <a:pt x="852" y="330"/>
                    </a:cubicBezTo>
                    <a:cubicBezTo>
                      <a:pt x="852" y="336"/>
                      <a:pt x="858" y="342"/>
                      <a:pt x="867" y="342"/>
                    </a:cubicBezTo>
                    <a:cubicBezTo>
                      <a:pt x="873" y="339"/>
                      <a:pt x="879" y="333"/>
                      <a:pt x="885" y="330"/>
                    </a:cubicBezTo>
                    <a:cubicBezTo>
                      <a:pt x="891" y="321"/>
                      <a:pt x="897" y="309"/>
                      <a:pt x="906" y="303"/>
                    </a:cubicBezTo>
                    <a:cubicBezTo>
                      <a:pt x="906" y="303"/>
                      <a:pt x="906" y="303"/>
                      <a:pt x="909" y="303"/>
                    </a:cubicBezTo>
                    <a:cubicBezTo>
                      <a:pt x="909" y="306"/>
                      <a:pt x="918" y="312"/>
                      <a:pt x="927" y="318"/>
                    </a:cubicBezTo>
                    <a:cubicBezTo>
                      <a:pt x="930" y="330"/>
                      <a:pt x="942" y="345"/>
                      <a:pt x="957" y="360"/>
                    </a:cubicBezTo>
                    <a:cubicBezTo>
                      <a:pt x="960" y="372"/>
                      <a:pt x="963" y="384"/>
                      <a:pt x="966" y="393"/>
                    </a:cubicBezTo>
                    <a:cubicBezTo>
                      <a:pt x="972" y="402"/>
                      <a:pt x="978" y="411"/>
                      <a:pt x="978" y="426"/>
                    </a:cubicBezTo>
                    <a:cubicBezTo>
                      <a:pt x="966" y="441"/>
                      <a:pt x="966" y="438"/>
                      <a:pt x="966" y="459"/>
                    </a:cubicBezTo>
                    <a:cubicBezTo>
                      <a:pt x="969" y="468"/>
                      <a:pt x="978" y="480"/>
                      <a:pt x="972" y="495"/>
                    </a:cubicBezTo>
                    <a:cubicBezTo>
                      <a:pt x="972" y="498"/>
                      <a:pt x="972" y="501"/>
                      <a:pt x="972" y="504"/>
                    </a:cubicBezTo>
                    <a:cubicBezTo>
                      <a:pt x="969" y="504"/>
                      <a:pt x="969" y="504"/>
                      <a:pt x="969" y="504"/>
                    </a:cubicBezTo>
                    <a:cubicBezTo>
                      <a:pt x="969" y="501"/>
                      <a:pt x="963" y="498"/>
                      <a:pt x="960" y="495"/>
                    </a:cubicBezTo>
                    <a:cubicBezTo>
                      <a:pt x="948" y="495"/>
                      <a:pt x="945" y="498"/>
                      <a:pt x="939" y="504"/>
                    </a:cubicBezTo>
                    <a:cubicBezTo>
                      <a:pt x="939" y="510"/>
                      <a:pt x="942" y="519"/>
                      <a:pt x="945" y="534"/>
                    </a:cubicBezTo>
                    <a:cubicBezTo>
                      <a:pt x="945" y="537"/>
                      <a:pt x="942" y="543"/>
                      <a:pt x="942" y="546"/>
                    </a:cubicBezTo>
                    <a:cubicBezTo>
                      <a:pt x="942" y="546"/>
                      <a:pt x="939" y="549"/>
                      <a:pt x="936" y="549"/>
                    </a:cubicBezTo>
                    <a:cubicBezTo>
                      <a:pt x="933" y="549"/>
                      <a:pt x="927" y="549"/>
                      <a:pt x="924" y="549"/>
                    </a:cubicBezTo>
                    <a:cubicBezTo>
                      <a:pt x="918" y="540"/>
                      <a:pt x="912" y="534"/>
                      <a:pt x="909" y="528"/>
                    </a:cubicBezTo>
                    <a:cubicBezTo>
                      <a:pt x="888" y="519"/>
                      <a:pt x="876" y="534"/>
                      <a:pt x="879" y="555"/>
                    </a:cubicBezTo>
                    <a:cubicBezTo>
                      <a:pt x="879" y="558"/>
                      <a:pt x="876" y="558"/>
                      <a:pt x="876" y="561"/>
                    </a:cubicBezTo>
                    <a:cubicBezTo>
                      <a:pt x="867" y="561"/>
                      <a:pt x="855" y="558"/>
                      <a:pt x="855" y="555"/>
                    </a:cubicBezTo>
                    <a:cubicBezTo>
                      <a:pt x="852" y="549"/>
                      <a:pt x="852" y="546"/>
                      <a:pt x="852" y="543"/>
                    </a:cubicBezTo>
                    <a:cubicBezTo>
                      <a:pt x="837" y="537"/>
                      <a:pt x="828" y="534"/>
                      <a:pt x="819" y="531"/>
                    </a:cubicBezTo>
                    <a:cubicBezTo>
                      <a:pt x="816" y="528"/>
                      <a:pt x="816" y="525"/>
                      <a:pt x="813" y="522"/>
                    </a:cubicBezTo>
                    <a:cubicBezTo>
                      <a:pt x="795" y="522"/>
                      <a:pt x="798" y="525"/>
                      <a:pt x="786" y="537"/>
                    </a:cubicBezTo>
                    <a:cubicBezTo>
                      <a:pt x="777" y="540"/>
                      <a:pt x="771" y="543"/>
                      <a:pt x="765" y="549"/>
                    </a:cubicBezTo>
                    <a:cubicBezTo>
                      <a:pt x="747" y="552"/>
                      <a:pt x="750" y="552"/>
                      <a:pt x="741" y="567"/>
                    </a:cubicBezTo>
                    <a:cubicBezTo>
                      <a:pt x="721" y="570"/>
                      <a:pt x="721" y="570"/>
                      <a:pt x="709" y="585"/>
                    </a:cubicBezTo>
                    <a:cubicBezTo>
                      <a:pt x="706" y="588"/>
                      <a:pt x="706" y="588"/>
                      <a:pt x="703" y="591"/>
                    </a:cubicBezTo>
                    <a:cubicBezTo>
                      <a:pt x="691" y="591"/>
                      <a:pt x="685" y="594"/>
                      <a:pt x="676" y="59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27" name="Freeform 19"/>
              <p:cNvSpPr>
                <a:spLocks/>
              </p:cNvSpPr>
              <p:nvPr/>
            </p:nvSpPr>
            <p:spPr bwMode="auto">
              <a:xfrm>
                <a:off x="5061034" y="3447334"/>
                <a:ext cx="1160817" cy="1044792"/>
              </a:xfrm>
              <a:custGeom>
                <a:avLst/>
                <a:gdLst>
                  <a:gd name="T0" fmla="*/ 1459814846 w 487"/>
                  <a:gd name="T1" fmla="*/ 2147483647 h 483"/>
                  <a:gd name="T2" fmla="*/ 1232577780 w 487"/>
                  <a:gd name="T3" fmla="*/ 2147483647 h 483"/>
                  <a:gd name="T4" fmla="*/ 1211920849 w 487"/>
                  <a:gd name="T5" fmla="*/ 2147483647 h 483"/>
                  <a:gd name="T6" fmla="*/ 922713318 w 487"/>
                  <a:gd name="T7" fmla="*/ 2147483647 h 483"/>
                  <a:gd name="T8" fmla="*/ 784995197 w 487"/>
                  <a:gd name="T9" fmla="*/ 2147483647 h 483"/>
                  <a:gd name="T10" fmla="*/ 681705129 w 487"/>
                  <a:gd name="T11" fmla="*/ 2131008435 h 483"/>
                  <a:gd name="T12" fmla="*/ 516444433 w 487"/>
                  <a:gd name="T13" fmla="*/ 2147483647 h 483"/>
                  <a:gd name="T14" fmla="*/ 495784878 w 487"/>
                  <a:gd name="T15" fmla="*/ 2027560665 h 483"/>
                  <a:gd name="T16" fmla="*/ 454471016 w 487"/>
                  <a:gd name="T17" fmla="*/ 1655151845 h 483"/>
                  <a:gd name="T18" fmla="*/ 516444433 w 487"/>
                  <a:gd name="T19" fmla="*/ 1406879298 h 483"/>
                  <a:gd name="T20" fmla="*/ 371840667 w 487"/>
                  <a:gd name="T21" fmla="*/ 1075847156 h 483"/>
                  <a:gd name="T22" fmla="*/ 61973438 w 487"/>
                  <a:gd name="T23" fmla="*/ 682749668 h 483"/>
                  <a:gd name="T24" fmla="*/ 20656936 w 487"/>
                  <a:gd name="T25" fmla="*/ 662061165 h 483"/>
                  <a:gd name="T26" fmla="*/ 103289944 w 487"/>
                  <a:gd name="T27" fmla="*/ 331029269 h 483"/>
                  <a:gd name="T28" fmla="*/ 20656936 w 487"/>
                  <a:gd name="T29" fmla="*/ 144824818 h 483"/>
                  <a:gd name="T30" fmla="*/ 392497598 w 487"/>
                  <a:gd name="T31" fmla="*/ 268961133 h 483"/>
                  <a:gd name="T32" fmla="*/ 702362224 w 487"/>
                  <a:gd name="T33" fmla="*/ 641370035 h 483"/>
                  <a:gd name="T34" fmla="*/ 840082970 w 487"/>
                  <a:gd name="T35" fmla="*/ 579301898 h 483"/>
                  <a:gd name="T36" fmla="*/ 984686736 w 487"/>
                  <a:gd name="T37" fmla="*/ 662061165 h 483"/>
                  <a:gd name="T38" fmla="*/ 1087974015 w 487"/>
                  <a:gd name="T39" fmla="*/ 703438336 h 483"/>
                  <a:gd name="T40" fmla="*/ 1294551198 w 487"/>
                  <a:gd name="T41" fmla="*/ 620681531 h 483"/>
                  <a:gd name="T42" fmla="*/ 1294551198 w 487"/>
                  <a:gd name="T43" fmla="*/ 268961133 h 483"/>
                  <a:gd name="T44" fmla="*/ 1439155291 w 487"/>
                  <a:gd name="T45" fmla="*/ 393097488 h 483"/>
                  <a:gd name="T46" fmla="*/ 1666392029 w 487"/>
                  <a:gd name="T47" fmla="*/ 331029269 h 483"/>
                  <a:gd name="T48" fmla="*/ 1810995794 w 487"/>
                  <a:gd name="T49" fmla="*/ 62068157 h 483"/>
                  <a:gd name="T50" fmla="*/ 2038232532 w 487"/>
                  <a:gd name="T51" fmla="*/ 248272629 h 483"/>
                  <a:gd name="T52" fmla="*/ 2147483647 w 487"/>
                  <a:gd name="T53" fmla="*/ 517233762 h 483"/>
                  <a:gd name="T54" fmla="*/ 2147483647 w 487"/>
                  <a:gd name="T55" fmla="*/ 682749668 h 483"/>
                  <a:gd name="T56" fmla="*/ 2147483647 w 487"/>
                  <a:gd name="T57" fmla="*/ 682749668 h 483"/>
                  <a:gd name="T58" fmla="*/ 2147483647 w 487"/>
                  <a:gd name="T59" fmla="*/ 765506473 h 483"/>
                  <a:gd name="T60" fmla="*/ 2147483647 w 487"/>
                  <a:gd name="T61" fmla="*/ 1013779020 h 483"/>
                  <a:gd name="T62" fmla="*/ 2147483647 w 487"/>
                  <a:gd name="T63" fmla="*/ 1489635938 h 483"/>
                  <a:gd name="T64" fmla="*/ 2147483647 w 487"/>
                  <a:gd name="T65" fmla="*/ 1344810833 h 483"/>
                  <a:gd name="T66" fmla="*/ 2147483647 w 487"/>
                  <a:gd name="T67" fmla="*/ 1489635938 h 483"/>
                  <a:gd name="T68" fmla="*/ 2147483647 w 487"/>
                  <a:gd name="T69" fmla="*/ 1924112895 h 483"/>
                  <a:gd name="T70" fmla="*/ 2147483647 w 487"/>
                  <a:gd name="T71" fmla="*/ 2147483647 h 483"/>
                  <a:gd name="T72" fmla="*/ 2147483647 w 487"/>
                  <a:gd name="T73" fmla="*/ 2147483647 h 483"/>
                  <a:gd name="T74" fmla="*/ 2147483647 w 487"/>
                  <a:gd name="T75" fmla="*/ 2147483647 h 483"/>
                  <a:gd name="T76" fmla="*/ 2147483647 w 487"/>
                  <a:gd name="T77" fmla="*/ 2147483647 h 483"/>
                  <a:gd name="T78" fmla="*/ 2147483647 w 487"/>
                  <a:gd name="T79" fmla="*/ 2147483647 h 483"/>
                  <a:gd name="T80" fmla="*/ 1976259115 w 487"/>
                  <a:gd name="T81" fmla="*/ 2147483647 h 483"/>
                  <a:gd name="T82" fmla="*/ 1872969211 w 487"/>
                  <a:gd name="T83" fmla="*/ 2147483647 h 483"/>
                  <a:gd name="T84" fmla="*/ 1749022377 w 487"/>
                  <a:gd name="T85" fmla="*/ 2147483647 h 483"/>
                  <a:gd name="T86" fmla="*/ 1728365446 w 487"/>
                  <a:gd name="T87" fmla="*/ 2147483647 h 483"/>
                  <a:gd name="T88" fmla="*/ 1810995794 w 487"/>
                  <a:gd name="T89" fmla="*/ 2147483647 h 483"/>
                  <a:gd name="T90" fmla="*/ 1501128708 w 487"/>
                  <a:gd name="T91" fmla="*/ 2147483647 h 48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87"/>
                  <a:gd name="T139" fmla="*/ 0 h 483"/>
                  <a:gd name="T140" fmla="*/ 487 w 487"/>
                  <a:gd name="T141" fmla="*/ 483 h 48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87" h="483">
                    <a:moveTo>
                      <a:pt x="218" y="483"/>
                    </a:moveTo>
                    <a:cubicBezTo>
                      <a:pt x="215" y="483"/>
                      <a:pt x="215" y="483"/>
                      <a:pt x="212" y="483"/>
                    </a:cubicBezTo>
                    <a:cubicBezTo>
                      <a:pt x="200" y="474"/>
                      <a:pt x="194" y="474"/>
                      <a:pt x="185" y="465"/>
                    </a:cubicBezTo>
                    <a:cubicBezTo>
                      <a:pt x="182" y="462"/>
                      <a:pt x="179" y="462"/>
                      <a:pt x="179" y="459"/>
                    </a:cubicBezTo>
                    <a:cubicBezTo>
                      <a:pt x="179" y="456"/>
                      <a:pt x="179" y="453"/>
                      <a:pt x="179" y="450"/>
                    </a:cubicBezTo>
                    <a:cubicBezTo>
                      <a:pt x="191" y="435"/>
                      <a:pt x="185" y="426"/>
                      <a:pt x="176" y="414"/>
                    </a:cubicBezTo>
                    <a:cubicBezTo>
                      <a:pt x="164" y="402"/>
                      <a:pt x="161" y="387"/>
                      <a:pt x="155" y="381"/>
                    </a:cubicBezTo>
                    <a:cubicBezTo>
                      <a:pt x="146" y="363"/>
                      <a:pt x="149" y="369"/>
                      <a:pt x="134" y="366"/>
                    </a:cubicBezTo>
                    <a:cubicBezTo>
                      <a:pt x="131" y="366"/>
                      <a:pt x="128" y="363"/>
                      <a:pt x="125" y="363"/>
                    </a:cubicBezTo>
                    <a:cubicBezTo>
                      <a:pt x="122" y="357"/>
                      <a:pt x="117" y="351"/>
                      <a:pt x="114" y="345"/>
                    </a:cubicBezTo>
                    <a:cubicBezTo>
                      <a:pt x="111" y="336"/>
                      <a:pt x="108" y="327"/>
                      <a:pt x="105" y="321"/>
                    </a:cubicBezTo>
                    <a:cubicBezTo>
                      <a:pt x="102" y="315"/>
                      <a:pt x="99" y="312"/>
                      <a:pt x="99" y="309"/>
                    </a:cubicBezTo>
                    <a:cubicBezTo>
                      <a:pt x="75" y="309"/>
                      <a:pt x="87" y="330"/>
                      <a:pt x="81" y="342"/>
                    </a:cubicBezTo>
                    <a:cubicBezTo>
                      <a:pt x="78" y="342"/>
                      <a:pt x="78" y="342"/>
                      <a:pt x="75" y="342"/>
                    </a:cubicBezTo>
                    <a:cubicBezTo>
                      <a:pt x="75" y="330"/>
                      <a:pt x="69" y="318"/>
                      <a:pt x="66" y="309"/>
                    </a:cubicBezTo>
                    <a:cubicBezTo>
                      <a:pt x="72" y="306"/>
                      <a:pt x="72" y="294"/>
                      <a:pt x="72" y="294"/>
                    </a:cubicBezTo>
                    <a:cubicBezTo>
                      <a:pt x="72" y="288"/>
                      <a:pt x="72" y="282"/>
                      <a:pt x="75" y="276"/>
                    </a:cubicBezTo>
                    <a:cubicBezTo>
                      <a:pt x="66" y="264"/>
                      <a:pt x="66" y="249"/>
                      <a:pt x="66" y="240"/>
                    </a:cubicBezTo>
                    <a:cubicBezTo>
                      <a:pt x="69" y="234"/>
                      <a:pt x="75" y="231"/>
                      <a:pt x="78" y="228"/>
                    </a:cubicBezTo>
                    <a:cubicBezTo>
                      <a:pt x="75" y="219"/>
                      <a:pt x="75" y="213"/>
                      <a:pt x="75" y="204"/>
                    </a:cubicBezTo>
                    <a:cubicBezTo>
                      <a:pt x="72" y="198"/>
                      <a:pt x="69" y="192"/>
                      <a:pt x="66" y="189"/>
                    </a:cubicBezTo>
                    <a:cubicBezTo>
                      <a:pt x="63" y="177"/>
                      <a:pt x="57" y="162"/>
                      <a:pt x="54" y="156"/>
                    </a:cubicBezTo>
                    <a:cubicBezTo>
                      <a:pt x="42" y="141"/>
                      <a:pt x="27" y="126"/>
                      <a:pt x="27" y="111"/>
                    </a:cubicBezTo>
                    <a:cubicBezTo>
                      <a:pt x="21" y="108"/>
                      <a:pt x="15" y="105"/>
                      <a:pt x="9" y="99"/>
                    </a:cubicBezTo>
                    <a:cubicBezTo>
                      <a:pt x="6" y="99"/>
                      <a:pt x="6" y="96"/>
                      <a:pt x="6" y="96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3" y="87"/>
                      <a:pt x="0" y="78"/>
                      <a:pt x="3" y="75"/>
                    </a:cubicBezTo>
                    <a:cubicBezTo>
                      <a:pt x="15" y="69"/>
                      <a:pt x="15" y="57"/>
                      <a:pt x="15" y="48"/>
                    </a:cubicBezTo>
                    <a:cubicBezTo>
                      <a:pt x="12" y="42"/>
                      <a:pt x="6" y="36"/>
                      <a:pt x="3" y="33"/>
                    </a:cubicBezTo>
                    <a:cubicBezTo>
                      <a:pt x="3" y="27"/>
                      <a:pt x="3" y="24"/>
                      <a:pt x="3" y="21"/>
                    </a:cubicBezTo>
                    <a:cubicBezTo>
                      <a:pt x="15" y="21"/>
                      <a:pt x="27" y="18"/>
                      <a:pt x="39" y="18"/>
                    </a:cubicBezTo>
                    <a:cubicBezTo>
                      <a:pt x="45" y="21"/>
                      <a:pt x="54" y="30"/>
                      <a:pt x="57" y="39"/>
                    </a:cubicBezTo>
                    <a:cubicBezTo>
                      <a:pt x="57" y="54"/>
                      <a:pt x="72" y="69"/>
                      <a:pt x="87" y="84"/>
                    </a:cubicBezTo>
                    <a:cubicBezTo>
                      <a:pt x="90" y="84"/>
                      <a:pt x="96" y="81"/>
                      <a:pt x="102" y="93"/>
                    </a:cubicBezTo>
                    <a:cubicBezTo>
                      <a:pt x="108" y="93"/>
                      <a:pt x="111" y="90"/>
                      <a:pt x="119" y="87"/>
                    </a:cubicBezTo>
                    <a:cubicBezTo>
                      <a:pt x="119" y="84"/>
                      <a:pt x="122" y="84"/>
                      <a:pt x="122" y="84"/>
                    </a:cubicBezTo>
                    <a:cubicBezTo>
                      <a:pt x="122" y="87"/>
                      <a:pt x="125" y="87"/>
                      <a:pt x="125" y="87"/>
                    </a:cubicBezTo>
                    <a:cubicBezTo>
                      <a:pt x="125" y="93"/>
                      <a:pt x="134" y="96"/>
                      <a:pt x="143" y="96"/>
                    </a:cubicBezTo>
                    <a:cubicBezTo>
                      <a:pt x="143" y="96"/>
                      <a:pt x="146" y="99"/>
                      <a:pt x="146" y="102"/>
                    </a:cubicBezTo>
                    <a:cubicBezTo>
                      <a:pt x="149" y="102"/>
                      <a:pt x="152" y="102"/>
                      <a:pt x="158" y="102"/>
                    </a:cubicBezTo>
                    <a:cubicBezTo>
                      <a:pt x="158" y="99"/>
                      <a:pt x="161" y="96"/>
                      <a:pt x="167" y="93"/>
                    </a:cubicBezTo>
                    <a:cubicBezTo>
                      <a:pt x="173" y="93"/>
                      <a:pt x="182" y="90"/>
                      <a:pt x="188" y="90"/>
                    </a:cubicBezTo>
                    <a:cubicBezTo>
                      <a:pt x="191" y="87"/>
                      <a:pt x="191" y="84"/>
                      <a:pt x="191" y="84"/>
                    </a:cubicBezTo>
                    <a:cubicBezTo>
                      <a:pt x="191" y="66"/>
                      <a:pt x="179" y="45"/>
                      <a:pt x="188" y="39"/>
                    </a:cubicBezTo>
                    <a:cubicBezTo>
                      <a:pt x="191" y="42"/>
                      <a:pt x="194" y="48"/>
                      <a:pt x="203" y="51"/>
                    </a:cubicBezTo>
                    <a:cubicBezTo>
                      <a:pt x="206" y="54"/>
                      <a:pt x="206" y="54"/>
                      <a:pt x="209" y="57"/>
                    </a:cubicBezTo>
                    <a:cubicBezTo>
                      <a:pt x="215" y="60"/>
                      <a:pt x="224" y="60"/>
                      <a:pt x="236" y="57"/>
                    </a:cubicBezTo>
                    <a:cubicBezTo>
                      <a:pt x="239" y="54"/>
                      <a:pt x="239" y="51"/>
                      <a:pt x="242" y="48"/>
                    </a:cubicBezTo>
                    <a:cubicBezTo>
                      <a:pt x="242" y="33"/>
                      <a:pt x="239" y="27"/>
                      <a:pt x="236" y="21"/>
                    </a:cubicBezTo>
                    <a:cubicBezTo>
                      <a:pt x="242" y="15"/>
                      <a:pt x="254" y="0"/>
                      <a:pt x="263" y="9"/>
                    </a:cubicBezTo>
                    <a:cubicBezTo>
                      <a:pt x="266" y="15"/>
                      <a:pt x="269" y="21"/>
                      <a:pt x="284" y="30"/>
                    </a:cubicBezTo>
                    <a:cubicBezTo>
                      <a:pt x="287" y="33"/>
                      <a:pt x="290" y="33"/>
                      <a:pt x="296" y="36"/>
                    </a:cubicBezTo>
                    <a:cubicBezTo>
                      <a:pt x="302" y="45"/>
                      <a:pt x="314" y="51"/>
                      <a:pt x="323" y="66"/>
                    </a:cubicBezTo>
                    <a:cubicBezTo>
                      <a:pt x="323" y="69"/>
                      <a:pt x="326" y="72"/>
                      <a:pt x="326" y="75"/>
                    </a:cubicBezTo>
                    <a:cubicBezTo>
                      <a:pt x="329" y="81"/>
                      <a:pt x="338" y="96"/>
                      <a:pt x="347" y="99"/>
                    </a:cubicBezTo>
                    <a:cubicBezTo>
                      <a:pt x="359" y="99"/>
                      <a:pt x="371" y="99"/>
                      <a:pt x="383" y="99"/>
                    </a:cubicBezTo>
                    <a:cubicBezTo>
                      <a:pt x="392" y="93"/>
                      <a:pt x="395" y="90"/>
                      <a:pt x="406" y="90"/>
                    </a:cubicBezTo>
                    <a:cubicBezTo>
                      <a:pt x="415" y="93"/>
                      <a:pt x="421" y="96"/>
                      <a:pt x="430" y="99"/>
                    </a:cubicBezTo>
                    <a:cubicBezTo>
                      <a:pt x="436" y="99"/>
                      <a:pt x="442" y="99"/>
                      <a:pt x="451" y="99"/>
                    </a:cubicBezTo>
                    <a:cubicBezTo>
                      <a:pt x="457" y="105"/>
                      <a:pt x="460" y="111"/>
                      <a:pt x="475" y="111"/>
                    </a:cubicBezTo>
                    <a:cubicBezTo>
                      <a:pt x="478" y="114"/>
                      <a:pt x="484" y="117"/>
                      <a:pt x="487" y="120"/>
                    </a:cubicBezTo>
                    <a:cubicBezTo>
                      <a:pt x="487" y="129"/>
                      <a:pt x="487" y="138"/>
                      <a:pt x="487" y="147"/>
                    </a:cubicBezTo>
                    <a:cubicBezTo>
                      <a:pt x="475" y="156"/>
                      <a:pt x="469" y="171"/>
                      <a:pt x="466" y="186"/>
                    </a:cubicBezTo>
                    <a:cubicBezTo>
                      <a:pt x="460" y="195"/>
                      <a:pt x="451" y="207"/>
                      <a:pt x="439" y="216"/>
                    </a:cubicBezTo>
                    <a:cubicBezTo>
                      <a:pt x="418" y="222"/>
                      <a:pt x="418" y="213"/>
                      <a:pt x="406" y="204"/>
                    </a:cubicBezTo>
                    <a:cubicBezTo>
                      <a:pt x="401" y="195"/>
                      <a:pt x="389" y="192"/>
                      <a:pt x="386" y="195"/>
                    </a:cubicBezTo>
                    <a:cubicBezTo>
                      <a:pt x="386" y="195"/>
                      <a:pt x="383" y="195"/>
                      <a:pt x="383" y="198"/>
                    </a:cubicBezTo>
                    <a:cubicBezTo>
                      <a:pt x="383" y="204"/>
                      <a:pt x="383" y="210"/>
                      <a:pt x="383" y="216"/>
                    </a:cubicBezTo>
                    <a:cubicBezTo>
                      <a:pt x="386" y="225"/>
                      <a:pt x="389" y="234"/>
                      <a:pt x="389" y="246"/>
                    </a:cubicBezTo>
                    <a:cubicBezTo>
                      <a:pt x="386" y="255"/>
                      <a:pt x="383" y="267"/>
                      <a:pt x="386" y="279"/>
                    </a:cubicBezTo>
                    <a:cubicBezTo>
                      <a:pt x="389" y="282"/>
                      <a:pt x="392" y="285"/>
                      <a:pt x="395" y="288"/>
                    </a:cubicBezTo>
                    <a:cubicBezTo>
                      <a:pt x="401" y="291"/>
                      <a:pt x="412" y="309"/>
                      <a:pt x="401" y="324"/>
                    </a:cubicBezTo>
                    <a:cubicBezTo>
                      <a:pt x="389" y="330"/>
                      <a:pt x="389" y="327"/>
                      <a:pt x="389" y="342"/>
                    </a:cubicBezTo>
                    <a:cubicBezTo>
                      <a:pt x="395" y="354"/>
                      <a:pt x="412" y="351"/>
                      <a:pt x="424" y="366"/>
                    </a:cubicBezTo>
                    <a:cubicBezTo>
                      <a:pt x="424" y="369"/>
                      <a:pt x="424" y="381"/>
                      <a:pt x="421" y="387"/>
                    </a:cubicBezTo>
                    <a:cubicBezTo>
                      <a:pt x="406" y="387"/>
                      <a:pt x="392" y="384"/>
                      <a:pt x="383" y="381"/>
                    </a:cubicBezTo>
                    <a:cubicBezTo>
                      <a:pt x="383" y="372"/>
                      <a:pt x="380" y="363"/>
                      <a:pt x="377" y="357"/>
                    </a:cubicBezTo>
                    <a:cubicBezTo>
                      <a:pt x="365" y="357"/>
                      <a:pt x="362" y="366"/>
                      <a:pt x="353" y="369"/>
                    </a:cubicBezTo>
                    <a:cubicBezTo>
                      <a:pt x="350" y="369"/>
                      <a:pt x="344" y="369"/>
                      <a:pt x="341" y="369"/>
                    </a:cubicBezTo>
                    <a:cubicBezTo>
                      <a:pt x="326" y="357"/>
                      <a:pt x="323" y="342"/>
                      <a:pt x="323" y="333"/>
                    </a:cubicBezTo>
                    <a:cubicBezTo>
                      <a:pt x="320" y="330"/>
                      <a:pt x="317" y="327"/>
                      <a:pt x="317" y="324"/>
                    </a:cubicBezTo>
                    <a:cubicBezTo>
                      <a:pt x="296" y="324"/>
                      <a:pt x="290" y="321"/>
                      <a:pt x="287" y="342"/>
                    </a:cubicBezTo>
                    <a:cubicBezTo>
                      <a:pt x="281" y="348"/>
                      <a:pt x="278" y="345"/>
                      <a:pt x="272" y="348"/>
                    </a:cubicBezTo>
                    <a:cubicBezTo>
                      <a:pt x="272" y="351"/>
                      <a:pt x="272" y="354"/>
                      <a:pt x="272" y="357"/>
                    </a:cubicBezTo>
                    <a:cubicBezTo>
                      <a:pt x="278" y="363"/>
                      <a:pt x="287" y="372"/>
                      <a:pt x="281" y="387"/>
                    </a:cubicBezTo>
                    <a:cubicBezTo>
                      <a:pt x="278" y="396"/>
                      <a:pt x="263" y="402"/>
                      <a:pt x="254" y="408"/>
                    </a:cubicBezTo>
                    <a:cubicBezTo>
                      <a:pt x="254" y="408"/>
                      <a:pt x="254" y="411"/>
                      <a:pt x="251" y="411"/>
                    </a:cubicBezTo>
                    <a:cubicBezTo>
                      <a:pt x="251" y="417"/>
                      <a:pt x="251" y="423"/>
                      <a:pt x="251" y="432"/>
                    </a:cubicBezTo>
                    <a:cubicBezTo>
                      <a:pt x="257" y="441"/>
                      <a:pt x="266" y="435"/>
                      <a:pt x="266" y="456"/>
                    </a:cubicBezTo>
                    <a:cubicBezTo>
                      <a:pt x="263" y="459"/>
                      <a:pt x="263" y="462"/>
                      <a:pt x="263" y="465"/>
                    </a:cubicBezTo>
                    <a:cubicBezTo>
                      <a:pt x="257" y="468"/>
                      <a:pt x="254" y="468"/>
                      <a:pt x="251" y="471"/>
                    </a:cubicBezTo>
                    <a:cubicBezTo>
                      <a:pt x="239" y="474"/>
                      <a:pt x="227" y="480"/>
                      <a:pt x="218" y="48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28" name="Freeform 20"/>
              <p:cNvSpPr>
                <a:spLocks/>
              </p:cNvSpPr>
              <p:nvPr/>
            </p:nvSpPr>
            <p:spPr bwMode="auto">
              <a:xfrm>
                <a:off x="5010564" y="4082843"/>
                <a:ext cx="1046898" cy="1017333"/>
              </a:xfrm>
              <a:custGeom>
                <a:avLst/>
                <a:gdLst>
                  <a:gd name="T0" fmla="*/ 1233742555 w 439"/>
                  <a:gd name="T1" fmla="*/ 2147483647 h 470"/>
                  <a:gd name="T2" fmla="*/ 1171710999 w 439"/>
                  <a:gd name="T3" fmla="*/ 2147483647 h 470"/>
                  <a:gd name="T4" fmla="*/ 889121924 w 439"/>
                  <a:gd name="T5" fmla="*/ 2147483647 h 470"/>
                  <a:gd name="T6" fmla="*/ 599641165 w 439"/>
                  <a:gd name="T7" fmla="*/ 2147483647 h 470"/>
                  <a:gd name="T8" fmla="*/ 558286794 w 439"/>
                  <a:gd name="T9" fmla="*/ 2147483647 h 470"/>
                  <a:gd name="T10" fmla="*/ 392866686 w 439"/>
                  <a:gd name="T11" fmla="*/ 2147483647 h 470"/>
                  <a:gd name="T12" fmla="*/ 206771936 w 439"/>
                  <a:gd name="T13" fmla="*/ 1947332392 h 470"/>
                  <a:gd name="T14" fmla="*/ 0 w 439"/>
                  <a:gd name="T15" fmla="*/ 2030198020 h 470"/>
                  <a:gd name="T16" fmla="*/ 62031577 w 439"/>
                  <a:gd name="T17" fmla="*/ 1595154789 h 470"/>
                  <a:gd name="T18" fmla="*/ 372189501 w 439"/>
                  <a:gd name="T19" fmla="*/ 1305127392 h 470"/>
                  <a:gd name="T20" fmla="*/ 413543871 w 439"/>
                  <a:gd name="T21" fmla="*/ 1097963324 h 470"/>
                  <a:gd name="T22" fmla="*/ 434223682 w 439"/>
                  <a:gd name="T23" fmla="*/ 642204836 h 470"/>
                  <a:gd name="T24" fmla="*/ 289480677 w 439"/>
                  <a:gd name="T25" fmla="*/ 414325674 h 470"/>
                  <a:gd name="T26" fmla="*/ 413543871 w 439"/>
                  <a:gd name="T27" fmla="*/ 82865648 h 470"/>
                  <a:gd name="T28" fmla="*/ 640995536 w 439"/>
                  <a:gd name="T29" fmla="*/ 352177767 h 470"/>
                  <a:gd name="T30" fmla="*/ 744381627 w 439"/>
                  <a:gd name="T31" fmla="*/ 186446430 h 470"/>
                  <a:gd name="T32" fmla="*/ 868444739 w 439"/>
                  <a:gd name="T33" fmla="*/ 331459964 h 470"/>
                  <a:gd name="T34" fmla="*/ 1130356629 w 439"/>
                  <a:gd name="T35" fmla="*/ 538624115 h 470"/>
                  <a:gd name="T36" fmla="*/ 1378483181 w 439"/>
                  <a:gd name="T37" fmla="*/ 932234696 h 470"/>
                  <a:gd name="T38" fmla="*/ 1337128482 w 439"/>
                  <a:gd name="T39" fmla="*/ 1139396137 h 470"/>
                  <a:gd name="T40" fmla="*/ 1626612031 w 439"/>
                  <a:gd name="T41" fmla="*/ 1346560206 h 470"/>
                  <a:gd name="T42" fmla="*/ 1978124182 w 439"/>
                  <a:gd name="T43" fmla="*/ 1222261765 h 470"/>
                  <a:gd name="T44" fmla="*/ 1916092626 w 439"/>
                  <a:gd name="T45" fmla="*/ 932234696 h 470"/>
                  <a:gd name="T46" fmla="*/ 2122864480 w 439"/>
                  <a:gd name="T47" fmla="*/ 642204836 h 470"/>
                  <a:gd name="T48" fmla="*/ 2060832924 w 439"/>
                  <a:gd name="T49" fmla="*/ 435043395 h 470"/>
                  <a:gd name="T50" fmla="*/ 2102187294 w 439"/>
                  <a:gd name="T51" fmla="*/ 393610581 h 470"/>
                  <a:gd name="T52" fmla="*/ 2147483647 w 439"/>
                  <a:gd name="T53" fmla="*/ 455758488 h 470"/>
                  <a:gd name="T54" fmla="*/ 2147483647 w 439"/>
                  <a:gd name="T55" fmla="*/ 559339208 h 470"/>
                  <a:gd name="T56" fmla="*/ 2147483647 w 439"/>
                  <a:gd name="T57" fmla="*/ 497191302 h 470"/>
                  <a:gd name="T58" fmla="*/ 2147483647 w 439"/>
                  <a:gd name="T59" fmla="*/ 745785721 h 470"/>
                  <a:gd name="T60" fmla="*/ 2147483647 w 439"/>
                  <a:gd name="T61" fmla="*/ 787218534 h 470"/>
                  <a:gd name="T62" fmla="*/ 2147483647 w 439"/>
                  <a:gd name="T63" fmla="*/ 994382603 h 470"/>
                  <a:gd name="T64" fmla="*/ 2147483647 w 439"/>
                  <a:gd name="T65" fmla="*/ 1180828951 h 470"/>
                  <a:gd name="T66" fmla="*/ 2147483647 w 439"/>
                  <a:gd name="T67" fmla="*/ 1574439696 h 470"/>
                  <a:gd name="T68" fmla="*/ 2147483647 w 439"/>
                  <a:gd name="T69" fmla="*/ 1885184486 h 470"/>
                  <a:gd name="T70" fmla="*/ 2147483647 w 439"/>
                  <a:gd name="T71" fmla="*/ 2071630834 h 470"/>
                  <a:gd name="T72" fmla="*/ 2147483647 w 439"/>
                  <a:gd name="T73" fmla="*/ 2113063647 h 470"/>
                  <a:gd name="T74" fmla="*/ 2147483647 w 439"/>
                  <a:gd name="T75" fmla="*/ 2147483647 h 470"/>
                  <a:gd name="T76" fmla="*/ 2147483647 w 439"/>
                  <a:gd name="T77" fmla="*/ 2147483647 h 470"/>
                  <a:gd name="T78" fmla="*/ 2147483647 w 439"/>
                  <a:gd name="T79" fmla="*/ 2147483647 h 470"/>
                  <a:gd name="T80" fmla="*/ 1978124182 w 439"/>
                  <a:gd name="T81" fmla="*/ 2147483647 h 470"/>
                  <a:gd name="T82" fmla="*/ 1626612031 w 439"/>
                  <a:gd name="T83" fmla="*/ 2147483647 h 470"/>
                  <a:gd name="T84" fmla="*/ 1419837552 w 439"/>
                  <a:gd name="T85" fmla="*/ 2147483647 h 470"/>
                  <a:gd name="T86" fmla="*/ 1399160367 w 439"/>
                  <a:gd name="T87" fmla="*/ 2147483647 h 470"/>
                  <a:gd name="T88" fmla="*/ 1399160367 w 439"/>
                  <a:gd name="T89" fmla="*/ 2147483647 h 47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39"/>
                  <a:gd name="T136" fmla="*/ 0 h 470"/>
                  <a:gd name="T137" fmla="*/ 439 w 439"/>
                  <a:gd name="T138" fmla="*/ 470 h 47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39" h="470">
                    <a:moveTo>
                      <a:pt x="203" y="470"/>
                    </a:moveTo>
                    <a:cubicBezTo>
                      <a:pt x="194" y="461"/>
                      <a:pt x="185" y="455"/>
                      <a:pt x="179" y="452"/>
                    </a:cubicBezTo>
                    <a:cubicBezTo>
                      <a:pt x="179" y="440"/>
                      <a:pt x="179" y="434"/>
                      <a:pt x="176" y="425"/>
                    </a:cubicBezTo>
                    <a:cubicBezTo>
                      <a:pt x="173" y="425"/>
                      <a:pt x="173" y="422"/>
                      <a:pt x="170" y="422"/>
                    </a:cubicBezTo>
                    <a:cubicBezTo>
                      <a:pt x="158" y="422"/>
                      <a:pt x="149" y="428"/>
                      <a:pt x="143" y="437"/>
                    </a:cubicBezTo>
                    <a:cubicBezTo>
                      <a:pt x="140" y="437"/>
                      <a:pt x="135" y="434"/>
                      <a:pt x="129" y="434"/>
                    </a:cubicBezTo>
                    <a:cubicBezTo>
                      <a:pt x="126" y="425"/>
                      <a:pt x="123" y="419"/>
                      <a:pt x="117" y="416"/>
                    </a:cubicBezTo>
                    <a:cubicBezTo>
                      <a:pt x="105" y="398"/>
                      <a:pt x="105" y="404"/>
                      <a:pt x="87" y="401"/>
                    </a:cubicBezTo>
                    <a:cubicBezTo>
                      <a:pt x="78" y="392"/>
                      <a:pt x="81" y="380"/>
                      <a:pt x="81" y="374"/>
                    </a:cubicBezTo>
                    <a:cubicBezTo>
                      <a:pt x="84" y="362"/>
                      <a:pt x="87" y="353"/>
                      <a:pt x="81" y="344"/>
                    </a:cubicBezTo>
                    <a:cubicBezTo>
                      <a:pt x="60" y="338"/>
                      <a:pt x="63" y="341"/>
                      <a:pt x="63" y="329"/>
                    </a:cubicBezTo>
                    <a:cubicBezTo>
                      <a:pt x="60" y="323"/>
                      <a:pt x="57" y="318"/>
                      <a:pt x="57" y="312"/>
                    </a:cubicBezTo>
                    <a:cubicBezTo>
                      <a:pt x="54" y="309"/>
                      <a:pt x="54" y="306"/>
                      <a:pt x="51" y="303"/>
                    </a:cubicBezTo>
                    <a:cubicBezTo>
                      <a:pt x="48" y="285"/>
                      <a:pt x="45" y="282"/>
                      <a:pt x="30" y="282"/>
                    </a:cubicBezTo>
                    <a:cubicBezTo>
                      <a:pt x="21" y="288"/>
                      <a:pt x="9" y="294"/>
                      <a:pt x="3" y="294"/>
                    </a:cubicBezTo>
                    <a:cubicBezTo>
                      <a:pt x="3" y="294"/>
                      <a:pt x="3" y="294"/>
                      <a:pt x="0" y="294"/>
                    </a:cubicBezTo>
                    <a:cubicBezTo>
                      <a:pt x="0" y="279"/>
                      <a:pt x="0" y="264"/>
                      <a:pt x="0" y="249"/>
                    </a:cubicBezTo>
                    <a:cubicBezTo>
                      <a:pt x="3" y="243"/>
                      <a:pt x="6" y="237"/>
                      <a:pt x="9" y="231"/>
                    </a:cubicBezTo>
                    <a:cubicBezTo>
                      <a:pt x="18" y="216"/>
                      <a:pt x="27" y="213"/>
                      <a:pt x="42" y="201"/>
                    </a:cubicBezTo>
                    <a:cubicBezTo>
                      <a:pt x="45" y="198"/>
                      <a:pt x="51" y="195"/>
                      <a:pt x="54" y="189"/>
                    </a:cubicBezTo>
                    <a:cubicBezTo>
                      <a:pt x="54" y="183"/>
                      <a:pt x="54" y="174"/>
                      <a:pt x="57" y="168"/>
                    </a:cubicBezTo>
                    <a:cubicBezTo>
                      <a:pt x="57" y="165"/>
                      <a:pt x="60" y="162"/>
                      <a:pt x="60" y="159"/>
                    </a:cubicBezTo>
                    <a:cubicBezTo>
                      <a:pt x="60" y="147"/>
                      <a:pt x="60" y="129"/>
                      <a:pt x="66" y="123"/>
                    </a:cubicBezTo>
                    <a:cubicBezTo>
                      <a:pt x="66" y="111"/>
                      <a:pt x="69" y="102"/>
                      <a:pt x="63" y="93"/>
                    </a:cubicBezTo>
                    <a:cubicBezTo>
                      <a:pt x="57" y="87"/>
                      <a:pt x="48" y="81"/>
                      <a:pt x="42" y="75"/>
                    </a:cubicBezTo>
                    <a:cubicBezTo>
                      <a:pt x="42" y="69"/>
                      <a:pt x="42" y="66"/>
                      <a:pt x="42" y="60"/>
                    </a:cubicBezTo>
                    <a:cubicBezTo>
                      <a:pt x="48" y="60"/>
                      <a:pt x="54" y="57"/>
                      <a:pt x="63" y="54"/>
                    </a:cubicBezTo>
                    <a:cubicBezTo>
                      <a:pt x="69" y="39"/>
                      <a:pt x="60" y="21"/>
                      <a:pt x="60" y="12"/>
                    </a:cubicBezTo>
                    <a:cubicBezTo>
                      <a:pt x="66" y="6"/>
                      <a:pt x="69" y="0"/>
                      <a:pt x="78" y="9"/>
                    </a:cubicBezTo>
                    <a:cubicBezTo>
                      <a:pt x="84" y="21"/>
                      <a:pt x="90" y="33"/>
                      <a:pt x="93" y="51"/>
                    </a:cubicBezTo>
                    <a:cubicBezTo>
                      <a:pt x="96" y="54"/>
                      <a:pt x="96" y="54"/>
                      <a:pt x="105" y="54"/>
                    </a:cubicBezTo>
                    <a:cubicBezTo>
                      <a:pt x="111" y="45"/>
                      <a:pt x="108" y="33"/>
                      <a:pt x="108" y="27"/>
                    </a:cubicBezTo>
                    <a:cubicBezTo>
                      <a:pt x="111" y="24"/>
                      <a:pt x="114" y="24"/>
                      <a:pt x="117" y="21"/>
                    </a:cubicBezTo>
                    <a:cubicBezTo>
                      <a:pt x="120" y="27"/>
                      <a:pt x="123" y="36"/>
                      <a:pt x="126" y="48"/>
                    </a:cubicBezTo>
                    <a:cubicBezTo>
                      <a:pt x="132" y="54"/>
                      <a:pt x="135" y="66"/>
                      <a:pt x="146" y="75"/>
                    </a:cubicBezTo>
                    <a:cubicBezTo>
                      <a:pt x="152" y="75"/>
                      <a:pt x="158" y="78"/>
                      <a:pt x="164" y="78"/>
                    </a:cubicBezTo>
                    <a:cubicBezTo>
                      <a:pt x="170" y="90"/>
                      <a:pt x="176" y="102"/>
                      <a:pt x="182" y="114"/>
                    </a:cubicBezTo>
                    <a:cubicBezTo>
                      <a:pt x="188" y="120"/>
                      <a:pt x="194" y="129"/>
                      <a:pt x="200" y="135"/>
                    </a:cubicBezTo>
                    <a:cubicBezTo>
                      <a:pt x="200" y="138"/>
                      <a:pt x="200" y="141"/>
                      <a:pt x="203" y="144"/>
                    </a:cubicBezTo>
                    <a:cubicBezTo>
                      <a:pt x="194" y="153"/>
                      <a:pt x="194" y="150"/>
                      <a:pt x="194" y="165"/>
                    </a:cubicBezTo>
                    <a:cubicBezTo>
                      <a:pt x="200" y="174"/>
                      <a:pt x="203" y="180"/>
                      <a:pt x="221" y="186"/>
                    </a:cubicBezTo>
                    <a:cubicBezTo>
                      <a:pt x="224" y="189"/>
                      <a:pt x="224" y="192"/>
                      <a:pt x="236" y="195"/>
                    </a:cubicBezTo>
                    <a:cubicBezTo>
                      <a:pt x="239" y="195"/>
                      <a:pt x="245" y="195"/>
                      <a:pt x="248" y="192"/>
                    </a:cubicBezTo>
                    <a:cubicBezTo>
                      <a:pt x="260" y="189"/>
                      <a:pt x="272" y="183"/>
                      <a:pt x="287" y="177"/>
                    </a:cubicBezTo>
                    <a:cubicBezTo>
                      <a:pt x="293" y="165"/>
                      <a:pt x="293" y="159"/>
                      <a:pt x="293" y="150"/>
                    </a:cubicBezTo>
                    <a:cubicBezTo>
                      <a:pt x="287" y="141"/>
                      <a:pt x="281" y="138"/>
                      <a:pt x="278" y="135"/>
                    </a:cubicBezTo>
                    <a:cubicBezTo>
                      <a:pt x="278" y="123"/>
                      <a:pt x="275" y="123"/>
                      <a:pt x="281" y="117"/>
                    </a:cubicBezTo>
                    <a:cubicBezTo>
                      <a:pt x="290" y="111"/>
                      <a:pt x="302" y="105"/>
                      <a:pt x="308" y="93"/>
                    </a:cubicBezTo>
                    <a:cubicBezTo>
                      <a:pt x="308" y="87"/>
                      <a:pt x="308" y="84"/>
                      <a:pt x="308" y="81"/>
                    </a:cubicBezTo>
                    <a:cubicBezTo>
                      <a:pt x="305" y="69"/>
                      <a:pt x="302" y="66"/>
                      <a:pt x="299" y="63"/>
                    </a:cubicBezTo>
                    <a:cubicBezTo>
                      <a:pt x="299" y="60"/>
                      <a:pt x="299" y="60"/>
                      <a:pt x="299" y="60"/>
                    </a:cubicBezTo>
                    <a:cubicBezTo>
                      <a:pt x="302" y="57"/>
                      <a:pt x="305" y="57"/>
                      <a:pt x="305" y="57"/>
                    </a:cubicBezTo>
                    <a:cubicBezTo>
                      <a:pt x="323" y="42"/>
                      <a:pt x="305" y="33"/>
                      <a:pt x="335" y="36"/>
                    </a:cubicBezTo>
                    <a:cubicBezTo>
                      <a:pt x="338" y="45"/>
                      <a:pt x="344" y="57"/>
                      <a:pt x="347" y="66"/>
                    </a:cubicBezTo>
                    <a:cubicBezTo>
                      <a:pt x="350" y="72"/>
                      <a:pt x="353" y="75"/>
                      <a:pt x="359" y="81"/>
                    </a:cubicBezTo>
                    <a:cubicBezTo>
                      <a:pt x="365" y="81"/>
                      <a:pt x="371" y="81"/>
                      <a:pt x="377" y="81"/>
                    </a:cubicBezTo>
                    <a:cubicBezTo>
                      <a:pt x="383" y="75"/>
                      <a:pt x="389" y="72"/>
                      <a:pt x="395" y="69"/>
                    </a:cubicBezTo>
                    <a:cubicBezTo>
                      <a:pt x="395" y="69"/>
                      <a:pt x="395" y="72"/>
                      <a:pt x="398" y="72"/>
                    </a:cubicBezTo>
                    <a:cubicBezTo>
                      <a:pt x="398" y="81"/>
                      <a:pt x="398" y="99"/>
                      <a:pt x="389" y="105"/>
                    </a:cubicBezTo>
                    <a:cubicBezTo>
                      <a:pt x="383" y="108"/>
                      <a:pt x="380" y="108"/>
                      <a:pt x="377" y="108"/>
                    </a:cubicBezTo>
                    <a:cubicBezTo>
                      <a:pt x="371" y="105"/>
                      <a:pt x="365" y="102"/>
                      <a:pt x="359" y="99"/>
                    </a:cubicBezTo>
                    <a:cubicBezTo>
                      <a:pt x="338" y="99"/>
                      <a:pt x="335" y="102"/>
                      <a:pt x="320" y="114"/>
                    </a:cubicBezTo>
                    <a:cubicBezTo>
                      <a:pt x="317" y="117"/>
                      <a:pt x="317" y="120"/>
                      <a:pt x="314" y="123"/>
                    </a:cubicBezTo>
                    <a:cubicBezTo>
                      <a:pt x="314" y="129"/>
                      <a:pt x="311" y="135"/>
                      <a:pt x="317" y="144"/>
                    </a:cubicBezTo>
                    <a:cubicBezTo>
                      <a:pt x="317" y="150"/>
                      <a:pt x="323" y="165"/>
                      <a:pt x="338" y="156"/>
                    </a:cubicBezTo>
                    <a:cubicBezTo>
                      <a:pt x="350" y="156"/>
                      <a:pt x="359" y="150"/>
                      <a:pt x="359" y="171"/>
                    </a:cubicBezTo>
                    <a:cubicBezTo>
                      <a:pt x="356" y="177"/>
                      <a:pt x="353" y="186"/>
                      <a:pt x="350" y="195"/>
                    </a:cubicBezTo>
                    <a:cubicBezTo>
                      <a:pt x="338" y="210"/>
                      <a:pt x="344" y="219"/>
                      <a:pt x="365" y="228"/>
                    </a:cubicBezTo>
                    <a:cubicBezTo>
                      <a:pt x="365" y="231"/>
                      <a:pt x="365" y="237"/>
                      <a:pt x="365" y="240"/>
                    </a:cubicBezTo>
                    <a:cubicBezTo>
                      <a:pt x="365" y="246"/>
                      <a:pt x="356" y="261"/>
                      <a:pt x="365" y="273"/>
                    </a:cubicBezTo>
                    <a:cubicBezTo>
                      <a:pt x="368" y="279"/>
                      <a:pt x="374" y="285"/>
                      <a:pt x="380" y="291"/>
                    </a:cubicBezTo>
                    <a:cubicBezTo>
                      <a:pt x="389" y="294"/>
                      <a:pt x="401" y="297"/>
                      <a:pt x="413" y="300"/>
                    </a:cubicBezTo>
                    <a:cubicBezTo>
                      <a:pt x="416" y="300"/>
                      <a:pt x="419" y="303"/>
                      <a:pt x="425" y="306"/>
                    </a:cubicBezTo>
                    <a:cubicBezTo>
                      <a:pt x="427" y="306"/>
                      <a:pt x="433" y="306"/>
                      <a:pt x="436" y="306"/>
                    </a:cubicBezTo>
                    <a:cubicBezTo>
                      <a:pt x="436" y="312"/>
                      <a:pt x="439" y="315"/>
                      <a:pt x="439" y="318"/>
                    </a:cubicBezTo>
                    <a:cubicBezTo>
                      <a:pt x="436" y="320"/>
                      <a:pt x="436" y="323"/>
                      <a:pt x="433" y="326"/>
                    </a:cubicBezTo>
                    <a:cubicBezTo>
                      <a:pt x="427" y="332"/>
                      <a:pt x="422" y="335"/>
                      <a:pt x="416" y="335"/>
                    </a:cubicBezTo>
                    <a:cubicBezTo>
                      <a:pt x="395" y="335"/>
                      <a:pt x="386" y="344"/>
                      <a:pt x="371" y="353"/>
                    </a:cubicBezTo>
                    <a:cubicBezTo>
                      <a:pt x="368" y="359"/>
                      <a:pt x="365" y="365"/>
                      <a:pt x="359" y="371"/>
                    </a:cubicBezTo>
                    <a:cubicBezTo>
                      <a:pt x="353" y="371"/>
                      <a:pt x="347" y="371"/>
                      <a:pt x="341" y="371"/>
                    </a:cubicBezTo>
                    <a:cubicBezTo>
                      <a:pt x="335" y="374"/>
                      <a:pt x="326" y="389"/>
                      <a:pt x="317" y="386"/>
                    </a:cubicBezTo>
                    <a:cubicBezTo>
                      <a:pt x="305" y="368"/>
                      <a:pt x="296" y="374"/>
                      <a:pt x="287" y="383"/>
                    </a:cubicBezTo>
                    <a:cubicBezTo>
                      <a:pt x="272" y="386"/>
                      <a:pt x="269" y="377"/>
                      <a:pt x="263" y="374"/>
                    </a:cubicBezTo>
                    <a:cubicBezTo>
                      <a:pt x="245" y="368"/>
                      <a:pt x="242" y="377"/>
                      <a:pt x="236" y="386"/>
                    </a:cubicBezTo>
                    <a:cubicBezTo>
                      <a:pt x="230" y="392"/>
                      <a:pt x="218" y="383"/>
                      <a:pt x="215" y="383"/>
                    </a:cubicBezTo>
                    <a:cubicBezTo>
                      <a:pt x="212" y="383"/>
                      <a:pt x="209" y="383"/>
                      <a:pt x="206" y="383"/>
                    </a:cubicBezTo>
                    <a:cubicBezTo>
                      <a:pt x="197" y="392"/>
                      <a:pt x="197" y="389"/>
                      <a:pt x="197" y="404"/>
                    </a:cubicBezTo>
                    <a:cubicBezTo>
                      <a:pt x="203" y="413"/>
                      <a:pt x="209" y="419"/>
                      <a:pt x="203" y="434"/>
                    </a:cubicBezTo>
                    <a:cubicBezTo>
                      <a:pt x="203" y="440"/>
                      <a:pt x="209" y="449"/>
                      <a:pt x="209" y="464"/>
                    </a:cubicBezTo>
                    <a:cubicBezTo>
                      <a:pt x="206" y="467"/>
                      <a:pt x="203" y="470"/>
                      <a:pt x="203" y="47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129" name="Freeform 29"/>
              <p:cNvSpPr>
                <a:spLocks/>
              </p:cNvSpPr>
              <p:nvPr/>
            </p:nvSpPr>
            <p:spPr bwMode="auto">
              <a:xfrm>
                <a:off x="5981035" y="3686630"/>
                <a:ext cx="555174" cy="532203"/>
              </a:xfrm>
              <a:custGeom>
                <a:avLst/>
                <a:gdLst>
                  <a:gd name="T0" fmla="*/ 1293585949 w 233"/>
                  <a:gd name="T1" fmla="*/ 1697000271 h 246"/>
                  <a:gd name="T2" fmla="*/ 1045879124 w 233"/>
                  <a:gd name="T3" fmla="*/ 1448659185 h 246"/>
                  <a:gd name="T4" fmla="*/ 736242971 w 233"/>
                  <a:gd name="T5" fmla="*/ 1221011766 h 246"/>
                  <a:gd name="T6" fmla="*/ 694960249 w 233"/>
                  <a:gd name="T7" fmla="*/ 1324487000 h 246"/>
                  <a:gd name="T8" fmla="*/ 529821327 w 233"/>
                  <a:gd name="T9" fmla="*/ 1490049803 h 246"/>
                  <a:gd name="T10" fmla="*/ 529821327 w 233"/>
                  <a:gd name="T11" fmla="*/ 1510743800 h 246"/>
                  <a:gd name="T12" fmla="*/ 488535982 w 233"/>
                  <a:gd name="T13" fmla="*/ 1531440422 h 246"/>
                  <a:gd name="T14" fmla="*/ 405965292 w 233"/>
                  <a:gd name="T15" fmla="*/ 1552134418 h 246"/>
                  <a:gd name="T16" fmla="*/ 137614361 w 233"/>
                  <a:gd name="T17" fmla="*/ 1469353181 h 246"/>
                  <a:gd name="T18" fmla="*/ 158258345 w 233"/>
                  <a:gd name="T19" fmla="*/ 1283099007 h 246"/>
                  <a:gd name="T20" fmla="*/ 20641366 w 233"/>
                  <a:gd name="T21" fmla="*/ 1117536532 h 246"/>
                  <a:gd name="T22" fmla="*/ 41285355 w 233"/>
                  <a:gd name="T23" fmla="*/ 827804826 h 246"/>
                  <a:gd name="T24" fmla="*/ 20641366 w 233"/>
                  <a:gd name="T25" fmla="*/ 620854194 h 246"/>
                  <a:gd name="T26" fmla="*/ 20641366 w 233"/>
                  <a:gd name="T27" fmla="*/ 600157572 h 246"/>
                  <a:gd name="T28" fmla="*/ 137614361 w 233"/>
                  <a:gd name="T29" fmla="*/ 682938809 h 246"/>
                  <a:gd name="T30" fmla="*/ 220185092 w 233"/>
                  <a:gd name="T31" fmla="*/ 765720211 h 246"/>
                  <a:gd name="T32" fmla="*/ 612389395 w 233"/>
                  <a:gd name="T33" fmla="*/ 434597723 h 246"/>
                  <a:gd name="T34" fmla="*/ 736242971 w 233"/>
                  <a:gd name="T35" fmla="*/ 248341169 h 246"/>
                  <a:gd name="T36" fmla="*/ 736242971 w 233"/>
                  <a:gd name="T37" fmla="*/ 82781258 h 246"/>
                  <a:gd name="T38" fmla="*/ 798169677 w 233"/>
                  <a:gd name="T39" fmla="*/ 41390629 h 246"/>
                  <a:gd name="T40" fmla="*/ 1107805831 w 233"/>
                  <a:gd name="T41" fmla="*/ 103475275 h 246"/>
                  <a:gd name="T42" fmla="*/ 1211017882 w 233"/>
                  <a:gd name="T43" fmla="*/ 206950550 h 246"/>
                  <a:gd name="T44" fmla="*/ 1355515278 w 233"/>
                  <a:gd name="T45" fmla="*/ 248341169 h 246"/>
                  <a:gd name="T46" fmla="*/ 1603222430 w 233"/>
                  <a:gd name="T47" fmla="*/ 496682338 h 246"/>
                  <a:gd name="T48" fmla="*/ 1396798328 w 233"/>
                  <a:gd name="T49" fmla="*/ 662244813 h 246"/>
                  <a:gd name="T50" fmla="*/ 983952418 w 233"/>
                  <a:gd name="T51" fmla="*/ 703635596 h 246"/>
                  <a:gd name="T52" fmla="*/ 983952418 w 233"/>
                  <a:gd name="T53" fmla="*/ 786414207 h 246"/>
                  <a:gd name="T54" fmla="*/ 1045879124 w 233"/>
                  <a:gd name="T55" fmla="*/ 1055451917 h 246"/>
                  <a:gd name="T56" fmla="*/ 1149091176 w 233"/>
                  <a:gd name="T57" fmla="*/ 1158927151 h 246"/>
                  <a:gd name="T58" fmla="*/ 1252303227 w 233"/>
                  <a:gd name="T59" fmla="*/ 1283099007 h 246"/>
                  <a:gd name="T60" fmla="*/ 1293585949 w 233"/>
                  <a:gd name="T61" fmla="*/ 1407268566 h 246"/>
                  <a:gd name="T62" fmla="*/ 1293585949 w 233"/>
                  <a:gd name="T63" fmla="*/ 1697000271 h 24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33"/>
                  <a:gd name="T97" fmla="*/ 0 h 246"/>
                  <a:gd name="T98" fmla="*/ 233 w 233"/>
                  <a:gd name="T99" fmla="*/ 246 h 24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33" h="246">
                    <a:moveTo>
                      <a:pt x="188" y="246"/>
                    </a:moveTo>
                    <a:cubicBezTo>
                      <a:pt x="167" y="237"/>
                      <a:pt x="161" y="222"/>
                      <a:pt x="152" y="210"/>
                    </a:cubicBezTo>
                    <a:cubicBezTo>
                      <a:pt x="149" y="186"/>
                      <a:pt x="131" y="165"/>
                      <a:pt x="107" y="177"/>
                    </a:cubicBezTo>
                    <a:cubicBezTo>
                      <a:pt x="101" y="183"/>
                      <a:pt x="101" y="183"/>
                      <a:pt x="101" y="192"/>
                    </a:cubicBezTo>
                    <a:cubicBezTo>
                      <a:pt x="95" y="201"/>
                      <a:pt x="86" y="210"/>
                      <a:pt x="77" y="216"/>
                    </a:cubicBezTo>
                    <a:cubicBezTo>
                      <a:pt x="77" y="216"/>
                      <a:pt x="77" y="216"/>
                      <a:pt x="77" y="219"/>
                    </a:cubicBezTo>
                    <a:cubicBezTo>
                      <a:pt x="74" y="219"/>
                      <a:pt x="71" y="219"/>
                      <a:pt x="71" y="222"/>
                    </a:cubicBezTo>
                    <a:cubicBezTo>
                      <a:pt x="68" y="222"/>
                      <a:pt x="65" y="225"/>
                      <a:pt x="59" y="225"/>
                    </a:cubicBezTo>
                    <a:cubicBezTo>
                      <a:pt x="44" y="225"/>
                      <a:pt x="29" y="222"/>
                      <a:pt x="20" y="213"/>
                    </a:cubicBezTo>
                    <a:cubicBezTo>
                      <a:pt x="26" y="201"/>
                      <a:pt x="26" y="192"/>
                      <a:pt x="23" y="186"/>
                    </a:cubicBezTo>
                    <a:cubicBezTo>
                      <a:pt x="15" y="177"/>
                      <a:pt x="6" y="168"/>
                      <a:pt x="3" y="162"/>
                    </a:cubicBezTo>
                    <a:cubicBezTo>
                      <a:pt x="3" y="147"/>
                      <a:pt x="6" y="132"/>
                      <a:pt x="6" y="120"/>
                    </a:cubicBezTo>
                    <a:cubicBezTo>
                      <a:pt x="3" y="105"/>
                      <a:pt x="0" y="99"/>
                      <a:pt x="3" y="90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9" y="90"/>
                      <a:pt x="15" y="96"/>
                      <a:pt x="20" y="99"/>
                    </a:cubicBezTo>
                    <a:cubicBezTo>
                      <a:pt x="23" y="102"/>
                      <a:pt x="29" y="108"/>
                      <a:pt x="32" y="111"/>
                    </a:cubicBezTo>
                    <a:cubicBezTo>
                      <a:pt x="59" y="123"/>
                      <a:pt x="80" y="84"/>
                      <a:pt x="89" y="63"/>
                    </a:cubicBezTo>
                    <a:cubicBezTo>
                      <a:pt x="95" y="54"/>
                      <a:pt x="101" y="45"/>
                      <a:pt x="107" y="36"/>
                    </a:cubicBezTo>
                    <a:cubicBezTo>
                      <a:pt x="107" y="27"/>
                      <a:pt x="107" y="21"/>
                      <a:pt x="107" y="12"/>
                    </a:cubicBezTo>
                    <a:cubicBezTo>
                      <a:pt x="110" y="9"/>
                      <a:pt x="113" y="9"/>
                      <a:pt x="116" y="6"/>
                    </a:cubicBezTo>
                    <a:cubicBezTo>
                      <a:pt x="131" y="6"/>
                      <a:pt x="143" y="0"/>
                      <a:pt x="161" y="15"/>
                    </a:cubicBezTo>
                    <a:cubicBezTo>
                      <a:pt x="167" y="18"/>
                      <a:pt x="170" y="24"/>
                      <a:pt x="176" y="30"/>
                    </a:cubicBezTo>
                    <a:cubicBezTo>
                      <a:pt x="185" y="30"/>
                      <a:pt x="191" y="33"/>
                      <a:pt x="197" y="36"/>
                    </a:cubicBezTo>
                    <a:cubicBezTo>
                      <a:pt x="206" y="39"/>
                      <a:pt x="233" y="54"/>
                      <a:pt x="233" y="72"/>
                    </a:cubicBezTo>
                    <a:cubicBezTo>
                      <a:pt x="221" y="78"/>
                      <a:pt x="212" y="90"/>
                      <a:pt x="203" y="96"/>
                    </a:cubicBezTo>
                    <a:cubicBezTo>
                      <a:pt x="179" y="102"/>
                      <a:pt x="158" y="93"/>
                      <a:pt x="143" y="102"/>
                    </a:cubicBezTo>
                    <a:cubicBezTo>
                      <a:pt x="143" y="108"/>
                      <a:pt x="143" y="111"/>
                      <a:pt x="143" y="114"/>
                    </a:cubicBezTo>
                    <a:cubicBezTo>
                      <a:pt x="152" y="126"/>
                      <a:pt x="131" y="138"/>
                      <a:pt x="152" y="153"/>
                    </a:cubicBezTo>
                    <a:cubicBezTo>
                      <a:pt x="158" y="156"/>
                      <a:pt x="164" y="162"/>
                      <a:pt x="167" y="168"/>
                    </a:cubicBezTo>
                    <a:cubicBezTo>
                      <a:pt x="173" y="174"/>
                      <a:pt x="176" y="180"/>
                      <a:pt x="182" y="186"/>
                    </a:cubicBezTo>
                    <a:cubicBezTo>
                      <a:pt x="185" y="192"/>
                      <a:pt x="185" y="198"/>
                      <a:pt x="188" y="204"/>
                    </a:cubicBezTo>
                    <a:cubicBezTo>
                      <a:pt x="188" y="219"/>
                      <a:pt x="188" y="231"/>
                      <a:pt x="188" y="24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solidFill>
                  <a:schemeClr val="accent5">
                    <a:lumMod val="50000"/>
                    <a:lumOff val="50000"/>
                  </a:schemeClr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30" name="Freeform 6"/>
              <p:cNvSpPr>
                <a:spLocks/>
              </p:cNvSpPr>
              <p:nvPr/>
            </p:nvSpPr>
            <p:spPr bwMode="auto">
              <a:xfrm>
                <a:off x="7469188" y="3829163"/>
                <a:ext cx="442697" cy="402749"/>
              </a:xfrm>
              <a:custGeom>
                <a:avLst/>
                <a:gdLst>
                  <a:gd name="T0" fmla="*/ 556115227 w 186"/>
                  <a:gd name="T1" fmla="*/ 1285333791 h 186"/>
                  <a:gd name="T2" fmla="*/ 370741793 w 186"/>
                  <a:gd name="T3" fmla="*/ 1202409476 h 186"/>
                  <a:gd name="T4" fmla="*/ 308951439 w 186"/>
                  <a:gd name="T5" fmla="*/ 974366951 h 186"/>
                  <a:gd name="T6" fmla="*/ 226566157 w 186"/>
                  <a:gd name="T7" fmla="*/ 932903479 h 186"/>
                  <a:gd name="T8" fmla="*/ 164775845 w 186"/>
                  <a:gd name="T9" fmla="*/ 912173057 h 186"/>
                  <a:gd name="T10" fmla="*/ 0 w 186"/>
                  <a:gd name="T11" fmla="*/ 601203423 h 186"/>
                  <a:gd name="T12" fmla="*/ 102982953 w 186"/>
                  <a:gd name="T13" fmla="*/ 456085214 h 186"/>
                  <a:gd name="T14" fmla="*/ 205968527 w 186"/>
                  <a:gd name="T15" fmla="*/ 331699973 h 186"/>
                  <a:gd name="T16" fmla="*/ 247161168 w 186"/>
                  <a:gd name="T17" fmla="*/ 269506079 h 186"/>
                  <a:gd name="T18" fmla="*/ 267758798 w 186"/>
                  <a:gd name="T19" fmla="*/ 103654778 h 186"/>
                  <a:gd name="T20" fmla="*/ 391339423 w 186"/>
                  <a:gd name="T21" fmla="*/ 82924336 h 186"/>
                  <a:gd name="T22" fmla="*/ 494324956 w 186"/>
                  <a:gd name="T23" fmla="*/ 82924336 h 186"/>
                  <a:gd name="T24" fmla="*/ 700293565 w 186"/>
                  <a:gd name="T25" fmla="*/ 62193914 h 186"/>
                  <a:gd name="T26" fmla="*/ 885664379 w 186"/>
                  <a:gd name="T27" fmla="*/ 103654778 h 186"/>
                  <a:gd name="T28" fmla="*/ 1029842553 w 186"/>
                  <a:gd name="T29" fmla="*/ 62193914 h 186"/>
                  <a:gd name="T30" fmla="*/ 1132825465 w 186"/>
                  <a:gd name="T31" fmla="*/ 103654778 h 186"/>
                  <a:gd name="T32" fmla="*/ 1256406008 w 186"/>
                  <a:gd name="T33" fmla="*/ 124387829 h 186"/>
                  <a:gd name="T34" fmla="*/ 1112227834 w 186"/>
                  <a:gd name="T35" fmla="*/ 331699973 h 186"/>
                  <a:gd name="T36" fmla="*/ 1215213367 w 186"/>
                  <a:gd name="T37" fmla="*/ 331699973 h 186"/>
                  <a:gd name="T38" fmla="*/ 1256406008 w 186"/>
                  <a:gd name="T39" fmla="*/ 290236501 h 186"/>
                  <a:gd name="T40" fmla="*/ 1235810998 w 186"/>
                  <a:gd name="T41" fmla="*/ 373160899 h 186"/>
                  <a:gd name="T42" fmla="*/ 1112227834 w 186"/>
                  <a:gd name="T43" fmla="*/ 435354792 h 186"/>
                  <a:gd name="T44" fmla="*/ 1112227834 w 186"/>
                  <a:gd name="T45" fmla="*/ 497548686 h 186"/>
                  <a:gd name="T46" fmla="*/ 1194615736 w 186"/>
                  <a:gd name="T47" fmla="*/ 518279108 h 186"/>
                  <a:gd name="T48" fmla="*/ 1174020726 w 186"/>
                  <a:gd name="T49" fmla="*/ 704860954 h 186"/>
                  <a:gd name="T50" fmla="*/ 1174020726 w 186"/>
                  <a:gd name="T51" fmla="*/ 849979163 h 186"/>
                  <a:gd name="T52" fmla="*/ 1132825465 w 186"/>
                  <a:gd name="T53" fmla="*/ 870709585 h 186"/>
                  <a:gd name="T54" fmla="*/ 1132825465 w 186"/>
                  <a:gd name="T55" fmla="*/ 829248741 h 186"/>
                  <a:gd name="T56" fmla="*/ 926857020 w 186"/>
                  <a:gd name="T57" fmla="*/ 974366951 h 186"/>
                  <a:gd name="T58" fmla="*/ 906262010 w 186"/>
                  <a:gd name="T59" fmla="*/ 1036560845 h 186"/>
                  <a:gd name="T60" fmla="*/ 906262010 w 186"/>
                  <a:gd name="T61" fmla="*/ 1223139897 h 186"/>
                  <a:gd name="T62" fmla="*/ 865066748 w 186"/>
                  <a:gd name="T63" fmla="*/ 1223139897 h 186"/>
                  <a:gd name="T64" fmla="*/ 556115227 w 186"/>
                  <a:gd name="T65" fmla="*/ 1285333791 h 18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86"/>
                  <a:gd name="T100" fmla="*/ 0 h 186"/>
                  <a:gd name="T101" fmla="*/ 186 w 186"/>
                  <a:gd name="T102" fmla="*/ 186 h 18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86" h="186">
                    <a:moveTo>
                      <a:pt x="81" y="186"/>
                    </a:moveTo>
                    <a:cubicBezTo>
                      <a:pt x="66" y="183"/>
                      <a:pt x="60" y="180"/>
                      <a:pt x="54" y="174"/>
                    </a:cubicBezTo>
                    <a:cubicBezTo>
                      <a:pt x="51" y="165"/>
                      <a:pt x="48" y="153"/>
                      <a:pt x="45" y="141"/>
                    </a:cubicBezTo>
                    <a:cubicBezTo>
                      <a:pt x="42" y="138"/>
                      <a:pt x="39" y="138"/>
                      <a:pt x="33" y="135"/>
                    </a:cubicBezTo>
                    <a:cubicBezTo>
                      <a:pt x="30" y="132"/>
                      <a:pt x="27" y="132"/>
                      <a:pt x="24" y="132"/>
                    </a:cubicBezTo>
                    <a:cubicBezTo>
                      <a:pt x="30" y="114"/>
                      <a:pt x="9" y="93"/>
                      <a:pt x="0" y="87"/>
                    </a:cubicBezTo>
                    <a:cubicBezTo>
                      <a:pt x="0" y="78"/>
                      <a:pt x="12" y="72"/>
                      <a:pt x="15" y="66"/>
                    </a:cubicBezTo>
                    <a:cubicBezTo>
                      <a:pt x="15" y="57"/>
                      <a:pt x="24" y="54"/>
                      <a:pt x="30" y="48"/>
                    </a:cubicBezTo>
                    <a:cubicBezTo>
                      <a:pt x="33" y="45"/>
                      <a:pt x="33" y="42"/>
                      <a:pt x="36" y="39"/>
                    </a:cubicBezTo>
                    <a:cubicBezTo>
                      <a:pt x="36" y="33"/>
                      <a:pt x="36" y="15"/>
                      <a:pt x="39" y="15"/>
                    </a:cubicBezTo>
                    <a:cubicBezTo>
                      <a:pt x="42" y="12"/>
                      <a:pt x="48" y="3"/>
                      <a:pt x="57" y="12"/>
                    </a:cubicBezTo>
                    <a:cubicBezTo>
                      <a:pt x="63" y="12"/>
                      <a:pt x="66" y="12"/>
                      <a:pt x="72" y="12"/>
                    </a:cubicBezTo>
                    <a:cubicBezTo>
                      <a:pt x="78" y="3"/>
                      <a:pt x="90" y="6"/>
                      <a:pt x="102" y="9"/>
                    </a:cubicBezTo>
                    <a:cubicBezTo>
                      <a:pt x="105" y="15"/>
                      <a:pt x="117" y="21"/>
                      <a:pt x="129" y="15"/>
                    </a:cubicBezTo>
                    <a:cubicBezTo>
                      <a:pt x="135" y="12"/>
                      <a:pt x="141" y="0"/>
                      <a:pt x="150" y="9"/>
                    </a:cubicBezTo>
                    <a:cubicBezTo>
                      <a:pt x="156" y="12"/>
                      <a:pt x="159" y="12"/>
                      <a:pt x="165" y="15"/>
                    </a:cubicBezTo>
                    <a:cubicBezTo>
                      <a:pt x="171" y="15"/>
                      <a:pt x="177" y="15"/>
                      <a:pt x="183" y="18"/>
                    </a:cubicBezTo>
                    <a:cubicBezTo>
                      <a:pt x="183" y="21"/>
                      <a:pt x="150" y="36"/>
                      <a:pt x="162" y="48"/>
                    </a:cubicBezTo>
                    <a:cubicBezTo>
                      <a:pt x="165" y="48"/>
                      <a:pt x="171" y="48"/>
                      <a:pt x="177" y="48"/>
                    </a:cubicBezTo>
                    <a:cubicBezTo>
                      <a:pt x="177" y="45"/>
                      <a:pt x="180" y="42"/>
                      <a:pt x="183" y="42"/>
                    </a:cubicBezTo>
                    <a:cubicBezTo>
                      <a:pt x="183" y="42"/>
                      <a:pt x="186" y="51"/>
                      <a:pt x="180" y="54"/>
                    </a:cubicBezTo>
                    <a:cubicBezTo>
                      <a:pt x="171" y="57"/>
                      <a:pt x="168" y="57"/>
                      <a:pt x="162" y="63"/>
                    </a:cubicBezTo>
                    <a:cubicBezTo>
                      <a:pt x="162" y="66"/>
                      <a:pt x="162" y="69"/>
                      <a:pt x="162" y="72"/>
                    </a:cubicBezTo>
                    <a:cubicBezTo>
                      <a:pt x="165" y="72"/>
                      <a:pt x="168" y="75"/>
                      <a:pt x="174" y="75"/>
                    </a:cubicBezTo>
                    <a:cubicBezTo>
                      <a:pt x="171" y="84"/>
                      <a:pt x="171" y="90"/>
                      <a:pt x="171" y="102"/>
                    </a:cubicBezTo>
                    <a:cubicBezTo>
                      <a:pt x="171" y="108"/>
                      <a:pt x="174" y="120"/>
                      <a:pt x="171" y="123"/>
                    </a:cubicBezTo>
                    <a:cubicBezTo>
                      <a:pt x="168" y="123"/>
                      <a:pt x="168" y="126"/>
                      <a:pt x="165" y="126"/>
                    </a:cubicBezTo>
                    <a:cubicBezTo>
                      <a:pt x="165" y="123"/>
                      <a:pt x="165" y="120"/>
                      <a:pt x="165" y="120"/>
                    </a:cubicBezTo>
                    <a:cubicBezTo>
                      <a:pt x="156" y="111"/>
                      <a:pt x="141" y="135"/>
                      <a:pt x="135" y="141"/>
                    </a:cubicBezTo>
                    <a:cubicBezTo>
                      <a:pt x="135" y="141"/>
                      <a:pt x="135" y="147"/>
                      <a:pt x="132" y="150"/>
                    </a:cubicBezTo>
                    <a:cubicBezTo>
                      <a:pt x="132" y="159"/>
                      <a:pt x="132" y="168"/>
                      <a:pt x="132" y="177"/>
                    </a:cubicBezTo>
                    <a:cubicBezTo>
                      <a:pt x="129" y="177"/>
                      <a:pt x="129" y="177"/>
                      <a:pt x="126" y="177"/>
                    </a:cubicBezTo>
                    <a:cubicBezTo>
                      <a:pt x="105" y="177"/>
                      <a:pt x="96" y="180"/>
                      <a:pt x="81" y="18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31" name="Freeform 25"/>
              <p:cNvSpPr>
                <a:spLocks/>
              </p:cNvSpPr>
              <p:nvPr/>
            </p:nvSpPr>
            <p:spPr bwMode="auto">
              <a:xfrm>
                <a:off x="6955831" y="3914155"/>
                <a:ext cx="563825" cy="720502"/>
              </a:xfrm>
              <a:custGeom>
                <a:avLst/>
                <a:gdLst>
                  <a:gd name="T0" fmla="*/ 435811591 w 236"/>
                  <a:gd name="T1" fmla="*/ 2147483647 h 333"/>
                  <a:gd name="T2" fmla="*/ 352799140 w 236"/>
                  <a:gd name="T3" fmla="*/ 2147483647 h 333"/>
                  <a:gd name="T4" fmla="*/ 352799140 w 236"/>
                  <a:gd name="T5" fmla="*/ 2147483647 h 333"/>
                  <a:gd name="T6" fmla="*/ 498069615 w 236"/>
                  <a:gd name="T7" fmla="*/ 2069970124 h 333"/>
                  <a:gd name="T8" fmla="*/ 477317817 w 236"/>
                  <a:gd name="T9" fmla="*/ 1966470338 h 333"/>
                  <a:gd name="T10" fmla="*/ 332047259 w 236"/>
                  <a:gd name="T11" fmla="*/ 1987171871 h 333"/>
                  <a:gd name="T12" fmla="*/ 228283010 w 236"/>
                  <a:gd name="T13" fmla="*/ 2007870778 h 333"/>
                  <a:gd name="T14" fmla="*/ 186776784 w 236"/>
                  <a:gd name="T15" fmla="*/ 1862973178 h 333"/>
                  <a:gd name="T16" fmla="*/ 207528582 w 236"/>
                  <a:gd name="T17" fmla="*/ 1573177977 h 333"/>
                  <a:gd name="T18" fmla="*/ 166022315 w 236"/>
                  <a:gd name="T19" fmla="*/ 1552476444 h 333"/>
                  <a:gd name="T20" fmla="*/ 83012472 w 236"/>
                  <a:gd name="T21" fmla="*/ 1241982009 h 333"/>
                  <a:gd name="T22" fmla="*/ 62258044 w 236"/>
                  <a:gd name="T23" fmla="*/ 993584622 h 333"/>
                  <a:gd name="T24" fmla="*/ 186776784 w 236"/>
                  <a:gd name="T25" fmla="*/ 848687022 h 333"/>
                  <a:gd name="T26" fmla="*/ 186776784 w 236"/>
                  <a:gd name="T27" fmla="*/ 662391445 h 333"/>
                  <a:gd name="T28" fmla="*/ 124518719 w 236"/>
                  <a:gd name="T29" fmla="*/ 538192751 h 333"/>
                  <a:gd name="T30" fmla="*/ 103764291 w 236"/>
                  <a:gd name="T31" fmla="*/ 517491218 h 333"/>
                  <a:gd name="T32" fmla="*/ 186776784 w 236"/>
                  <a:gd name="T33" fmla="*/ 434692964 h 333"/>
                  <a:gd name="T34" fmla="*/ 311292831 w 236"/>
                  <a:gd name="T35" fmla="*/ 413994058 h 333"/>
                  <a:gd name="T36" fmla="*/ 332047259 w 236"/>
                  <a:gd name="T37" fmla="*/ 393295151 h 333"/>
                  <a:gd name="T38" fmla="*/ 581082067 w 236"/>
                  <a:gd name="T39" fmla="*/ 206997029 h 333"/>
                  <a:gd name="T40" fmla="*/ 892374981 w 236"/>
                  <a:gd name="T41" fmla="*/ 82798274 h 333"/>
                  <a:gd name="T42" fmla="*/ 1016893659 w 236"/>
                  <a:gd name="T43" fmla="*/ 0 h 333"/>
                  <a:gd name="T44" fmla="*/ 1016893659 w 236"/>
                  <a:gd name="T45" fmla="*/ 165596548 h 333"/>
                  <a:gd name="T46" fmla="*/ 1120657908 w 236"/>
                  <a:gd name="T47" fmla="*/ 206997029 h 333"/>
                  <a:gd name="T48" fmla="*/ 1182915932 w 236"/>
                  <a:gd name="T49" fmla="*/ 62099367 h 333"/>
                  <a:gd name="T50" fmla="*/ 1300514714 w 236"/>
                  <a:gd name="T51" fmla="*/ 186298122 h 333"/>
                  <a:gd name="T52" fmla="*/ 1487291744 w 236"/>
                  <a:gd name="T53" fmla="*/ 144897641 h 333"/>
                  <a:gd name="T54" fmla="*/ 1549549768 w 236"/>
                  <a:gd name="T55" fmla="*/ 144897641 h 333"/>
                  <a:gd name="T56" fmla="*/ 1466539946 w 236"/>
                  <a:gd name="T57" fmla="*/ 351894711 h 333"/>
                  <a:gd name="T58" fmla="*/ 1632562220 w 236"/>
                  <a:gd name="T59" fmla="*/ 579590564 h 333"/>
                  <a:gd name="T60" fmla="*/ 1632562220 w 236"/>
                  <a:gd name="T61" fmla="*/ 662391445 h 333"/>
                  <a:gd name="T62" fmla="*/ 1570304196 w 236"/>
                  <a:gd name="T63" fmla="*/ 765888769 h 333"/>
                  <a:gd name="T64" fmla="*/ 1321269142 w 236"/>
                  <a:gd name="T65" fmla="*/ 869385929 h 333"/>
                  <a:gd name="T66" fmla="*/ 1245173956 w 236"/>
                  <a:gd name="T67" fmla="*/ 1055683969 h 333"/>
                  <a:gd name="T68" fmla="*/ 1245173956 w 236"/>
                  <a:gd name="T69" fmla="*/ 1200581569 h 333"/>
                  <a:gd name="T70" fmla="*/ 1162164134 w 236"/>
                  <a:gd name="T71" fmla="*/ 1283379822 h 333"/>
                  <a:gd name="T72" fmla="*/ 1058397254 w 236"/>
                  <a:gd name="T73" fmla="*/ 1531777537 h 333"/>
                  <a:gd name="T74" fmla="*/ 1037645456 w 236"/>
                  <a:gd name="T75" fmla="*/ 1614575791 h 333"/>
                  <a:gd name="T76" fmla="*/ 933881207 w 236"/>
                  <a:gd name="T77" fmla="*/ 1821572737 h 333"/>
                  <a:gd name="T78" fmla="*/ 954633005 w 236"/>
                  <a:gd name="T79" fmla="*/ 1883672084 h 333"/>
                  <a:gd name="T80" fmla="*/ 913129409 w 236"/>
                  <a:gd name="T81" fmla="*/ 2132069471 h 333"/>
                  <a:gd name="T82" fmla="*/ 933881207 w 236"/>
                  <a:gd name="T83" fmla="*/ 2147483647 h 333"/>
                  <a:gd name="T84" fmla="*/ 809362529 w 236"/>
                  <a:gd name="T85" fmla="*/ 2147483647 h 333"/>
                  <a:gd name="T86" fmla="*/ 539575841 w 236"/>
                  <a:gd name="T87" fmla="*/ 2147483647 h 333"/>
                  <a:gd name="T88" fmla="*/ 435811591 w 236"/>
                  <a:gd name="T89" fmla="*/ 2147483647 h 33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36"/>
                  <a:gd name="T136" fmla="*/ 0 h 333"/>
                  <a:gd name="T137" fmla="*/ 236 w 236"/>
                  <a:gd name="T138" fmla="*/ 333 h 33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36" h="333">
                    <a:moveTo>
                      <a:pt x="63" y="333"/>
                    </a:moveTo>
                    <a:cubicBezTo>
                      <a:pt x="60" y="330"/>
                      <a:pt x="54" y="330"/>
                      <a:pt x="51" y="330"/>
                    </a:cubicBezTo>
                    <a:cubicBezTo>
                      <a:pt x="51" y="327"/>
                      <a:pt x="51" y="327"/>
                      <a:pt x="51" y="327"/>
                    </a:cubicBezTo>
                    <a:cubicBezTo>
                      <a:pt x="57" y="318"/>
                      <a:pt x="66" y="309"/>
                      <a:pt x="72" y="300"/>
                    </a:cubicBezTo>
                    <a:cubicBezTo>
                      <a:pt x="72" y="291"/>
                      <a:pt x="69" y="288"/>
                      <a:pt x="69" y="285"/>
                    </a:cubicBezTo>
                    <a:cubicBezTo>
                      <a:pt x="57" y="285"/>
                      <a:pt x="54" y="285"/>
                      <a:pt x="48" y="288"/>
                    </a:cubicBezTo>
                    <a:cubicBezTo>
                      <a:pt x="45" y="288"/>
                      <a:pt x="39" y="288"/>
                      <a:pt x="33" y="291"/>
                    </a:cubicBezTo>
                    <a:cubicBezTo>
                      <a:pt x="33" y="282"/>
                      <a:pt x="30" y="276"/>
                      <a:pt x="27" y="270"/>
                    </a:cubicBezTo>
                    <a:cubicBezTo>
                      <a:pt x="27" y="255"/>
                      <a:pt x="33" y="243"/>
                      <a:pt x="30" y="228"/>
                    </a:cubicBezTo>
                    <a:cubicBezTo>
                      <a:pt x="27" y="228"/>
                      <a:pt x="27" y="225"/>
                      <a:pt x="24" y="225"/>
                    </a:cubicBezTo>
                    <a:cubicBezTo>
                      <a:pt x="24" y="207"/>
                      <a:pt x="15" y="192"/>
                      <a:pt x="12" y="180"/>
                    </a:cubicBezTo>
                    <a:cubicBezTo>
                      <a:pt x="6" y="162"/>
                      <a:pt x="0" y="156"/>
                      <a:pt x="9" y="144"/>
                    </a:cubicBezTo>
                    <a:cubicBezTo>
                      <a:pt x="15" y="141"/>
                      <a:pt x="24" y="126"/>
                      <a:pt x="27" y="123"/>
                    </a:cubicBezTo>
                    <a:cubicBezTo>
                      <a:pt x="27" y="114"/>
                      <a:pt x="27" y="105"/>
                      <a:pt x="27" y="96"/>
                    </a:cubicBezTo>
                    <a:cubicBezTo>
                      <a:pt x="24" y="90"/>
                      <a:pt x="21" y="84"/>
                      <a:pt x="18" y="78"/>
                    </a:cubicBezTo>
                    <a:cubicBezTo>
                      <a:pt x="15" y="75"/>
                      <a:pt x="15" y="75"/>
                      <a:pt x="15" y="75"/>
                    </a:cubicBezTo>
                    <a:cubicBezTo>
                      <a:pt x="18" y="72"/>
                      <a:pt x="24" y="66"/>
                      <a:pt x="27" y="63"/>
                    </a:cubicBezTo>
                    <a:cubicBezTo>
                      <a:pt x="27" y="63"/>
                      <a:pt x="42" y="63"/>
                      <a:pt x="45" y="60"/>
                    </a:cubicBezTo>
                    <a:cubicBezTo>
                      <a:pt x="45" y="57"/>
                      <a:pt x="48" y="57"/>
                      <a:pt x="48" y="57"/>
                    </a:cubicBezTo>
                    <a:cubicBezTo>
                      <a:pt x="57" y="45"/>
                      <a:pt x="72" y="39"/>
                      <a:pt x="84" y="30"/>
                    </a:cubicBezTo>
                    <a:cubicBezTo>
                      <a:pt x="90" y="18"/>
                      <a:pt x="114" y="24"/>
                      <a:pt x="129" y="12"/>
                    </a:cubicBezTo>
                    <a:cubicBezTo>
                      <a:pt x="132" y="0"/>
                      <a:pt x="132" y="0"/>
                      <a:pt x="147" y="0"/>
                    </a:cubicBezTo>
                    <a:cubicBezTo>
                      <a:pt x="147" y="9"/>
                      <a:pt x="147" y="18"/>
                      <a:pt x="147" y="24"/>
                    </a:cubicBezTo>
                    <a:cubicBezTo>
                      <a:pt x="150" y="30"/>
                      <a:pt x="156" y="30"/>
                      <a:pt x="162" y="30"/>
                    </a:cubicBezTo>
                    <a:cubicBezTo>
                      <a:pt x="171" y="24"/>
                      <a:pt x="168" y="12"/>
                      <a:pt x="171" y="9"/>
                    </a:cubicBezTo>
                    <a:cubicBezTo>
                      <a:pt x="174" y="12"/>
                      <a:pt x="177" y="27"/>
                      <a:pt x="188" y="27"/>
                    </a:cubicBezTo>
                    <a:cubicBezTo>
                      <a:pt x="197" y="27"/>
                      <a:pt x="206" y="27"/>
                      <a:pt x="215" y="21"/>
                    </a:cubicBezTo>
                    <a:cubicBezTo>
                      <a:pt x="218" y="21"/>
                      <a:pt x="221" y="21"/>
                      <a:pt x="224" y="21"/>
                    </a:cubicBezTo>
                    <a:cubicBezTo>
                      <a:pt x="221" y="33"/>
                      <a:pt x="206" y="36"/>
                      <a:pt x="212" y="51"/>
                    </a:cubicBezTo>
                    <a:cubicBezTo>
                      <a:pt x="221" y="60"/>
                      <a:pt x="227" y="69"/>
                      <a:pt x="236" y="84"/>
                    </a:cubicBezTo>
                    <a:cubicBezTo>
                      <a:pt x="236" y="90"/>
                      <a:pt x="236" y="93"/>
                      <a:pt x="236" y="96"/>
                    </a:cubicBezTo>
                    <a:cubicBezTo>
                      <a:pt x="233" y="99"/>
                      <a:pt x="230" y="105"/>
                      <a:pt x="227" y="111"/>
                    </a:cubicBezTo>
                    <a:cubicBezTo>
                      <a:pt x="215" y="126"/>
                      <a:pt x="203" y="120"/>
                      <a:pt x="191" y="126"/>
                    </a:cubicBezTo>
                    <a:cubicBezTo>
                      <a:pt x="180" y="138"/>
                      <a:pt x="177" y="135"/>
                      <a:pt x="180" y="153"/>
                    </a:cubicBezTo>
                    <a:cubicBezTo>
                      <a:pt x="183" y="159"/>
                      <a:pt x="183" y="165"/>
                      <a:pt x="180" y="174"/>
                    </a:cubicBezTo>
                    <a:cubicBezTo>
                      <a:pt x="174" y="177"/>
                      <a:pt x="171" y="180"/>
                      <a:pt x="168" y="186"/>
                    </a:cubicBezTo>
                    <a:cubicBezTo>
                      <a:pt x="150" y="198"/>
                      <a:pt x="150" y="195"/>
                      <a:pt x="153" y="222"/>
                    </a:cubicBezTo>
                    <a:cubicBezTo>
                      <a:pt x="153" y="225"/>
                      <a:pt x="153" y="231"/>
                      <a:pt x="150" y="234"/>
                    </a:cubicBezTo>
                    <a:cubicBezTo>
                      <a:pt x="138" y="246"/>
                      <a:pt x="135" y="246"/>
                      <a:pt x="135" y="264"/>
                    </a:cubicBezTo>
                    <a:cubicBezTo>
                      <a:pt x="135" y="267"/>
                      <a:pt x="138" y="270"/>
                      <a:pt x="138" y="273"/>
                    </a:cubicBezTo>
                    <a:cubicBezTo>
                      <a:pt x="135" y="282"/>
                      <a:pt x="129" y="297"/>
                      <a:pt x="132" y="309"/>
                    </a:cubicBezTo>
                    <a:cubicBezTo>
                      <a:pt x="132" y="312"/>
                      <a:pt x="132" y="315"/>
                      <a:pt x="135" y="315"/>
                    </a:cubicBezTo>
                    <a:cubicBezTo>
                      <a:pt x="129" y="318"/>
                      <a:pt x="123" y="321"/>
                      <a:pt x="117" y="327"/>
                    </a:cubicBezTo>
                    <a:cubicBezTo>
                      <a:pt x="105" y="315"/>
                      <a:pt x="93" y="324"/>
                      <a:pt x="78" y="330"/>
                    </a:cubicBezTo>
                    <a:cubicBezTo>
                      <a:pt x="72" y="330"/>
                      <a:pt x="69" y="333"/>
                      <a:pt x="63" y="33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32" name="Freeform 30"/>
              <p:cNvSpPr>
                <a:spLocks/>
              </p:cNvSpPr>
              <p:nvPr/>
            </p:nvSpPr>
            <p:spPr bwMode="auto">
              <a:xfrm>
                <a:off x="7071191" y="3349262"/>
                <a:ext cx="547963" cy="617199"/>
              </a:xfrm>
              <a:custGeom>
                <a:avLst/>
                <a:gdLst>
                  <a:gd name="T0" fmla="*/ 742954962 w 230"/>
                  <a:gd name="T1" fmla="*/ 1970001533 h 285"/>
                  <a:gd name="T2" fmla="*/ 722318572 w 230"/>
                  <a:gd name="T3" fmla="*/ 1949265650 h 285"/>
                  <a:gd name="T4" fmla="*/ 722318572 w 230"/>
                  <a:gd name="T5" fmla="*/ 1804106584 h 285"/>
                  <a:gd name="T6" fmla="*/ 701679559 w 230"/>
                  <a:gd name="T7" fmla="*/ 1783370701 h 285"/>
                  <a:gd name="T8" fmla="*/ 515941392 w 230"/>
                  <a:gd name="T9" fmla="*/ 1866316861 h 285"/>
                  <a:gd name="T10" fmla="*/ 495305002 w 230"/>
                  <a:gd name="T11" fmla="*/ 1887055373 h 285"/>
                  <a:gd name="T12" fmla="*/ 433390586 w 230"/>
                  <a:gd name="T13" fmla="*/ 1824842467 h 285"/>
                  <a:gd name="T14" fmla="*/ 412754196 w 230"/>
                  <a:gd name="T15" fmla="*/ 1783370701 h 285"/>
                  <a:gd name="T16" fmla="*/ 350839780 w 230"/>
                  <a:gd name="T17" fmla="*/ 1617475752 h 285"/>
                  <a:gd name="T18" fmla="*/ 309564294 w 230"/>
                  <a:gd name="T19" fmla="*/ 1596737240 h 285"/>
                  <a:gd name="T20" fmla="*/ 371478793 w 230"/>
                  <a:gd name="T21" fmla="*/ 1493052569 h 285"/>
                  <a:gd name="T22" fmla="*/ 206377098 w 230"/>
                  <a:gd name="T23" fmla="*/ 1347895803 h 285"/>
                  <a:gd name="T24" fmla="*/ 206377098 w 230"/>
                  <a:gd name="T25" fmla="*/ 1306421408 h 285"/>
                  <a:gd name="T26" fmla="*/ 185738085 w 230"/>
                  <a:gd name="T27" fmla="*/ 1285685526 h 285"/>
                  <a:gd name="T28" fmla="*/ 288927904 w 230"/>
                  <a:gd name="T29" fmla="*/ 1182000854 h 285"/>
                  <a:gd name="T30" fmla="*/ 350839780 w 230"/>
                  <a:gd name="T31" fmla="*/ 1119790577 h 285"/>
                  <a:gd name="T32" fmla="*/ 268288891 w 230"/>
                  <a:gd name="T33" fmla="*/ 870946839 h 285"/>
                  <a:gd name="T34" fmla="*/ 185738085 w 230"/>
                  <a:gd name="T35" fmla="*/ 870946839 h 285"/>
                  <a:gd name="T36" fmla="*/ 165101654 w 230"/>
                  <a:gd name="T37" fmla="*/ 891685351 h 285"/>
                  <a:gd name="T38" fmla="*/ 123826251 w 230"/>
                  <a:gd name="T39" fmla="*/ 891685351 h 285"/>
                  <a:gd name="T40" fmla="*/ 61911814 w 230"/>
                  <a:gd name="T41" fmla="*/ 725790402 h 285"/>
                  <a:gd name="T42" fmla="*/ 0 w 230"/>
                  <a:gd name="T43" fmla="*/ 684315843 h 285"/>
                  <a:gd name="T44" fmla="*/ 144462641 w 230"/>
                  <a:gd name="T45" fmla="*/ 497685011 h 285"/>
                  <a:gd name="T46" fmla="*/ 144462641 w 230"/>
                  <a:gd name="T47" fmla="*/ 248841191 h 285"/>
                  <a:gd name="T48" fmla="*/ 165101654 w 230"/>
                  <a:gd name="T49" fmla="*/ 228105308 h 285"/>
                  <a:gd name="T50" fmla="*/ 185738085 w 230"/>
                  <a:gd name="T51" fmla="*/ 248841191 h 285"/>
                  <a:gd name="T52" fmla="*/ 309564294 w 230"/>
                  <a:gd name="T53" fmla="*/ 394000339 h 285"/>
                  <a:gd name="T54" fmla="*/ 371478793 w 230"/>
                  <a:gd name="T55" fmla="*/ 394000339 h 285"/>
                  <a:gd name="T56" fmla="*/ 454029599 w 230"/>
                  <a:gd name="T57" fmla="*/ 207369426 h 285"/>
                  <a:gd name="T58" fmla="*/ 454029599 w 230"/>
                  <a:gd name="T59" fmla="*/ 165894990 h 285"/>
                  <a:gd name="T60" fmla="*/ 330203307 w 230"/>
                  <a:gd name="T61" fmla="*/ 41474405 h 285"/>
                  <a:gd name="T62" fmla="*/ 371478793 w 230"/>
                  <a:gd name="T63" fmla="*/ 0 h 285"/>
                  <a:gd name="T64" fmla="*/ 392115183 w 230"/>
                  <a:gd name="T65" fmla="*/ 0 h 285"/>
                  <a:gd name="T66" fmla="*/ 536577782 w 230"/>
                  <a:gd name="T67" fmla="*/ 186630914 h 285"/>
                  <a:gd name="T68" fmla="*/ 598492199 w 230"/>
                  <a:gd name="T69" fmla="*/ 269579703 h 285"/>
                  <a:gd name="T70" fmla="*/ 846144782 w 230"/>
                  <a:gd name="T71" fmla="*/ 311054097 h 285"/>
                  <a:gd name="T72" fmla="*/ 908056575 w 230"/>
                  <a:gd name="T73" fmla="*/ 352525945 h 285"/>
                  <a:gd name="T74" fmla="*/ 1066278517 w 230"/>
                  <a:gd name="T75" fmla="*/ 663579960 h 285"/>
                  <a:gd name="T76" fmla="*/ 1086917530 w 230"/>
                  <a:gd name="T77" fmla="*/ 684315843 h 285"/>
                  <a:gd name="T78" fmla="*/ 1210741116 w 230"/>
                  <a:gd name="T79" fmla="*/ 663579960 h 285"/>
                  <a:gd name="T80" fmla="*/ 1293291923 w 230"/>
                  <a:gd name="T81" fmla="*/ 601369683 h 285"/>
                  <a:gd name="T82" fmla="*/ 1334567326 w 230"/>
                  <a:gd name="T83" fmla="*/ 746526284 h 285"/>
                  <a:gd name="T84" fmla="*/ 1190104726 w 230"/>
                  <a:gd name="T85" fmla="*/ 767264796 h 285"/>
                  <a:gd name="T86" fmla="*/ 1148829323 w 230"/>
                  <a:gd name="T87" fmla="*/ 850210956 h 285"/>
                  <a:gd name="T88" fmla="*/ 1148829323 w 230"/>
                  <a:gd name="T89" fmla="*/ 933159745 h 285"/>
                  <a:gd name="T90" fmla="*/ 1107553920 w 230"/>
                  <a:gd name="T91" fmla="*/ 1036841788 h 285"/>
                  <a:gd name="T92" fmla="*/ 1252016520 w 230"/>
                  <a:gd name="T93" fmla="*/ 1182000854 h 285"/>
                  <a:gd name="T94" fmla="*/ 1334567326 w 230"/>
                  <a:gd name="T95" fmla="*/ 1223475248 h 285"/>
                  <a:gd name="T96" fmla="*/ 1396482070 w 230"/>
                  <a:gd name="T97" fmla="*/ 1285685526 h 285"/>
                  <a:gd name="T98" fmla="*/ 1561583683 w 230"/>
                  <a:gd name="T99" fmla="*/ 1306421408 h 285"/>
                  <a:gd name="T100" fmla="*/ 1582220073 w 230"/>
                  <a:gd name="T101" fmla="*/ 1327159920 h 285"/>
                  <a:gd name="T102" fmla="*/ 1582220073 w 230"/>
                  <a:gd name="T103" fmla="*/ 1368631686 h 285"/>
                  <a:gd name="T104" fmla="*/ 1417118460 w 230"/>
                  <a:gd name="T105" fmla="*/ 1513791080 h 285"/>
                  <a:gd name="T106" fmla="*/ 1437757473 w 230"/>
                  <a:gd name="T107" fmla="*/ 1576001358 h 285"/>
                  <a:gd name="T108" fmla="*/ 1355206339 w 230"/>
                  <a:gd name="T109" fmla="*/ 1617475752 h 285"/>
                  <a:gd name="T110" fmla="*/ 1355206339 w 230"/>
                  <a:gd name="T111" fmla="*/ 1783370701 h 285"/>
                  <a:gd name="T112" fmla="*/ 1128192933 w 230"/>
                  <a:gd name="T113" fmla="*/ 1928527138 h 285"/>
                  <a:gd name="T114" fmla="*/ 949331978 w 230"/>
                  <a:gd name="T115" fmla="*/ 1949265650 h 285"/>
                  <a:gd name="T116" fmla="*/ 846144782 w 230"/>
                  <a:gd name="T117" fmla="*/ 1824842467 h 285"/>
                  <a:gd name="T118" fmla="*/ 804869378 w 230"/>
                  <a:gd name="T119" fmla="*/ 1866316861 h 285"/>
                  <a:gd name="T120" fmla="*/ 784230365 w 230"/>
                  <a:gd name="T121" fmla="*/ 1970001533 h 285"/>
                  <a:gd name="T122" fmla="*/ 742954962 w 230"/>
                  <a:gd name="T123" fmla="*/ 1970001533 h 28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30"/>
                  <a:gd name="T187" fmla="*/ 0 h 285"/>
                  <a:gd name="T188" fmla="*/ 230 w 230"/>
                  <a:gd name="T189" fmla="*/ 285 h 28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30" h="285">
                    <a:moveTo>
                      <a:pt x="108" y="285"/>
                    </a:moveTo>
                    <a:cubicBezTo>
                      <a:pt x="105" y="285"/>
                      <a:pt x="105" y="285"/>
                      <a:pt x="105" y="282"/>
                    </a:cubicBezTo>
                    <a:cubicBezTo>
                      <a:pt x="105" y="276"/>
                      <a:pt x="105" y="267"/>
                      <a:pt x="105" y="261"/>
                    </a:cubicBezTo>
                    <a:cubicBezTo>
                      <a:pt x="105" y="258"/>
                      <a:pt x="102" y="258"/>
                      <a:pt x="102" y="258"/>
                    </a:cubicBezTo>
                    <a:cubicBezTo>
                      <a:pt x="84" y="258"/>
                      <a:pt x="84" y="255"/>
                      <a:pt x="75" y="270"/>
                    </a:cubicBezTo>
                    <a:cubicBezTo>
                      <a:pt x="75" y="270"/>
                      <a:pt x="72" y="270"/>
                      <a:pt x="72" y="273"/>
                    </a:cubicBezTo>
                    <a:cubicBezTo>
                      <a:pt x="72" y="267"/>
                      <a:pt x="66" y="267"/>
                      <a:pt x="63" y="264"/>
                    </a:cubicBezTo>
                    <a:cubicBezTo>
                      <a:pt x="63" y="261"/>
                      <a:pt x="63" y="261"/>
                      <a:pt x="60" y="258"/>
                    </a:cubicBezTo>
                    <a:cubicBezTo>
                      <a:pt x="60" y="243"/>
                      <a:pt x="54" y="243"/>
                      <a:pt x="51" y="234"/>
                    </a:cubicBezTo>
                    <a:cubicBezTo>
                      <a:pt x="48" y="231"/>
                      <a:pt x="48" y="231"/>
                      <a:pt x="45" y="231"/>
                    </a:cubicBezTo>
                    <a:cubicBezTo>
                      <a:pt x="45" y="222"/>
                      <a:pt x="51" y="222"/>
                      <a:pt x="54" y="216"/>
                    </a:cubicBezTo>
                    <a:cubicBezTo>
                      <a:pt x="54" y="198"/>
                      <a:pt x="36" y="201"/>
                      <a:pt x="30" y="195"/>
                    </a:cubicBezTo>
                    <a:cubicBezTo>
                      <a:pt x="30" y="192"/>
                      <a:pt x="30" y="192"/>
                      <a:pt x="30" y="189"/>
                    </a:cubicBezTo>
                    <a:cubicBezTo>
                      <a:pt x="27" y="189"/>
                      <a:pt x="27" y="186"/>
                      <a:pt x="27" y="186"/>
                    </a:cubicBezTo>
                    <a:cubicBezTo>
                      <a:pt x="27" y="177"/>
                      <a:pt x="36" y="174"/>
                      <a:pt x="42" y="171"/>
                    </a:cubicBezTo>
                    <a:cubicBezTo>
                      <a:pt x="45" y="168"/>
                      <a:pt x="48" y="165"/>
                      <a:pt x="51" y="162"/>
                    </a:cubicBezTo>
                    <a:cubicBezTo>
                      <a:pt x="51" y="147"/>
                      <a:pt x="45" y="132"/>
                      <a:pt x="39" y="126"/>
                    </a:cubicBezTo>
                    <a:cubicBezTo>
                      <a:pt x="33" y="126"/>
                      <a:pt x="30" y="126"/>
                      <a:pt x="27" y="126"/>
                    </a:cubicBezTo>
                    <a:cubicBezTo>
                      <a:pt x="24" y="126"/>
                      <a:pt x="24" y="129"/>
                      <a:pt x="24" y="129"/>
                    </a:cubicBezTo>
                    <a:cubicBezTo>
                      <a:pt x="21" y="129"/>
                      <a:pt x="21" y="129"/>
                      <a:pt x="18" y="129"/>
                    </a:cubicBezTo>
                    <a:cubicBezTo>
                      <a:pt x="12" y="123"/>
                      <a:pt x="12" y="111"/>
                      <a:pt x="9" y="105"/>
                    </a:cubicBezTo>
                    <a:cubicBezTo>
                      <a:pt x="6" y="102"/>
                      <a:pt x="3" y="102"/>
                      <a:pt x="0" y="99"/>
                    </a:cubicBezTo>
                    <a:cubicBezTo>
                      <a:pt x="0" y="87"/>
                      <a:pt x="12" y="81"/>
                      <a:pt x="21" y="72"/>
                    </a:cubicBezTo>
                    <a:cubicBezTo>
                      <a:pt x="24" y="60"/>
                      <a:pt x="21" y="48"/>
                      <a:pt x="21" y="36"/>
                    </a:cubicBezTo>
                    <a:cubicBezTo>
                      <a:pt x="21" y="33"/>
                      <a:pt x="21" y="33"/>
                      <a:pt x="24" y="33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30" y="39"/>
                      <a:pt x="33" y="54"/>
                      <a:pt x="45" y="57"/>
                    </a:cubicBezTo>
                    <a:cubicBezTo>
                      <a:pt x="48" y="57"/>
                      <a:pt x="51" y="57"/>
                      <a:pt x="54" y="57"/>
                    </a:cubicBezTo>
                    <a:cubicBezTo>
                      <a:pt x="63" y="48"/>
                      <a:pt x="60" y="42"/>
                      <a:pt x="66" y="30"/>
                    </a:cubicBezTo>
                    <a:cubicBezTo>
                      <a:pt x="66" y="30"/>
                      <a:pt x="66" y="27"/>
                      <a:pt x="66" y="24"/>
                    </a:cubicBezTo>
                    <a:cubicBezTo>
                      <a:pt x="60" y="18"/>
                      <a:pt x="54" y="12"/>
                      <a:pt x="48" y="6"/>
                    </a:cubicBezTo>
                    <a:cubicBezTo>
                      <a:pt x="48" y="0"/>
                      <a:pt x="51" y="0"/>
                      <a:pt x="54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66" y="6"/>
                      <a:pt x="75" y="15"/>
                      <a:pt x="78" y="27"/>
                    </a:cubicBezTo>
                    <a:cubicBezTo>
                      <a:pt x="81" y="30"/>
                      <a:pt x="84" y="36"/>
                      <a:pt x="87" y="39"/>
                    </a:cubicBezTo>
                    <a:cubicBezTo>
                      <a:pt x="99" y="39"/>
                      <a:pt x="111" y="42"/>
                      <a:pt x="123" y="45"/>
                    </a:cubicBezTo>
                    <a:cubicBezTo>
                      <a:pt x="126" y="48"/>
                      <a:pt x="129" y="48"/>
                      <a:pt x="132" y="51"/>
                    </a:cubicBezTo>
                    <a:cubicBezTo>
                      <a:pt x="138" y="63"/>
                      <a:pt x="140" y="84"/>
                      <a:pt x="155" y="96"/>
                    </a:cubicBezTo>
                    <a:cubicBezTo>
                      <a:pt x="155" y="96"/>
                      <a:pt x="155" y="99"/>
                      <a:pt x="158" y="99"/>
                    </a:cubicBezTo>
                    <a:cubicBezTo>
                      <a:pt x="161" y="99"/>
                      <a:pt x="170" y="99"/>
                      <a:pt x="176" y="96"/>
                    </a:cubicBezTo>
                    <a:cubicBezTo>
                      <a:pt x="179" y="84"/>
                      <a:pt x="176" y="90"/>
                      <a:pt x="188" y="87"/>
                    </a:cubicBezTo>
                    <a:cubicBezTo>
                      <a:pt x="188" y="90"/>
                      <a:pt x="194" y="99"/>
                      <a:pt x="194" y="108"/>
                    </a:cubicBezTo>
                    <a:cubicBezTo>
                      <a:pt x="188" y="111"/>
                      <a:pt x="179" y="111"/>
                      <a:pt x="173" y="111"/>
                    </a:cubicBezTo>
                    <a:cubicBezTo>
                      <a:pt x="170" y="114"/>
                      <a:pt x="167" y="120"/>
                      <a:pt x="167" y="123"/>
                    </a:cubicBezTo>
                    <a:cubicBezTo>
                      <a:pt x="167" y="129"/>
                      <a:pt x="167" y="132"/>
                      <a:pt x="167" y="135"/>
                    </a:cubicBezTo>
                    <a:cubicBezTo>
                      <a:pt x="161" y="141"/>
                      <a:pt x="161" y="141"/>
                      <a:pt x="161" y="150"/>
                    </a:cubicBezTo>
                    <a:cubicBezTo>
                      <a:pt x="167" y="156"/>
                      <a:pt x="176" y="162"/>
                      <a:pt x="182" y="171"/>
                    </a:cubicBezTo>
                    <a:cubicBezTo>
                      <a:pt x="185" y="171"/>
                      <a:pt x="191" y="171"/>
                      <a:pt x="194" y="177"/>
                    </a:cubicBezTo>
                    <a:cubicBezTo>
                      <a:pt x="197" y="180"/>
                      <a:pt x="200" y="183"/>
                      <a:pt x="203" y="186"/>
                    </a:cubicBezTo>
                    <a:cubicBezTo>
                      <a:pt x="209" y="186"/>
                      <a:pt x="218" y="186"/>
                      <a:pt x="227" y="189"/>
                    </a:cubicBezTo>
                    <a:cubicBezTo>
                      <a:pt x="227" y="189"/>
                      <a:pt x="230" y="189"/>
                      <a:pt x="230" y="192"/>
                    </a:cubicBezTo>
                    <a:cubicBezTo>
                      <a:pt x="230" y="195"/>
                      <a:pt x="230" y="195"/>
                      <a:pt x="230" y="198"/>
                    </a:cubicBezTo>
                    <a:cubicBezTo>
                      <a:pt x="221" y="210"/>
                      <a:pt x="206" y="201"/>
                      <a:pt x="206" y="219"/>
                    </a:cubicBezTo>
                    <a:cubicBezTo>
                      <a:pt x="209" y="222"/>
                      <a:pt x="209" y="225"/>
                      <a:pt x="209" y="228"/>
                    </a:cubicBezTo>
                    <a:cubicBezTo>
                      <a:pt x="203" y="231"/>
                      <a:pt x="200" y="234"/>
                      <a:pt x="197" y="234"/>
                    </a:cubicBezTo>
                    <a:cubicBezTo>
                      <a:pt x="197" y="243"/>
                      <a:pt x="197" y="252"/>
                      <a:pt x="197" y="258"/>
                    </a:cubicBezTo>
                    <a:cubicBezTo>
                      <a:pt x="188" y="273"/>
                      <a:pt x="179" y="276"/>
                      <a:pt x="164" y="279"/>
                    </a:cubicBezTo>
                    <a:cubicBezTo>
                      <a:pt x="152" y="282"/>
                      <a:pt x="146" y="285"/>
                      <a:pt x="138" y="282"/>
                    </a:cubicBezTo>
                    <a:cubicBezTo>
                      <a:pt x="129" y="273"/>
                      <a:pt x="129" y="267"/>
                      <a:pt x="123" y="264"/>
                    </a:cubicBezTo>
                    <a:cubicBezTo>
                      <a:pt x="117" y="264"/>
                      <a:pt x="120" y="264"/>
                      <a:pt x="117" y="270"/>
                    </a:cubicBezTo>
                    <a:cubicBezTo>
                      <a:pt x="114" y="276"/>
                      <a:pt x="114" y="279"/>
                      <a:pt x="114" y="285"/>
                    </a:cubicBezTo>
                    <a:cubicBezTo>
                      <a:pt x="111" y="285"/>
                      <a:pt x="108" y="285"/>
                      <a:pt x="108" y="28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33" name="Freeform 31"/>
              <p:cNvSpPr>
                <a:spLocks/>
              </p:cNvSpPr>
              <p:nvPr/>
            </p:nvSpPr>
            <p:spPr bwMode="auto">
              <a:xfrm>
                <a:off x="7206742" y="3259039"/>
                <a:ext cx="656114" cy="583201"/>
              </a:xfrm>
              <a:custGeom>
                <a:avLst/>
                <a:gdLst>
                  <a:gd name="T0" fmla="*/ 1193526160 w 275"/>
                  <a:gd name="T1" fmla="*/ 1856664263 h 270"/>
                  <a:gd name="T2" fmla="*/ 1090041079 w 275"/>
                  <a:gd name="T3" fmla="*/ 1836034522 h 270"/>
                  <a:gd name="T4" fmla="*/ 1090041079 w 275"/>
                  <a:gd name="T5" fmla="*/ 1794775039 h 270"/>
                  <a:gd name="T6" fmla="*/ 1214221075 w 275"/>
                  <a:gd name="T7" fmla="*/ 1712256074 h 270"/>
                  <a:gd name="T8" fmla="*/ 1234918617 w 275"/>
                  <a:gd name="T9" fmla="*/ 1670996591 h 270"/>
                  <a:gd name="T10" fmla="*/ 1048645996 w 275"/>
                  <a:gd name="T11" fmla="*/ 1526591024 h 270"/>
                  <a:gd name="T12" fmla="*/ 965858457 w 275"/>
                  <a:gd name="T13" fmla="*/ 1464701800 h 270"/>
                  <a:gd name="T14" fmla="*/ 820978293 w 275"/>
                  <a:gd name="T15" fmla="*/ 1361552766 h 270"/>
                  <a:gd name="T16" fmla="*/ 758888295 w 275"/>
                  <a:gd name="T17" fmla="*/ 1279033800 h 270"/>
                  <a:gd name="T18" fmla="*/ 800283378 w 275"/>
                  <a:gd name="T19" fmla="*/ 1155257975 h 270"/>
                  <a:gd name="T20" fmla="*/ 820978293 w 275"/>
                  <a:gd name="T21" fmla="*/ 1093368751 h 270"/>
                  <a:gd name="T22" fmla="*/ 986555999 w 275"/>
                  <a:gd name="T23" fmla="*/ 1052109268 h 270"/>
                  <a:gd name="T24" fmla="*/ 924463374 w 275"/>
                  <a:gd name="T25" fmla="*/ 866444219 h 270"/>
                  <a:gd name="T26" fmla="*/ 800283378 w 275"/>
                  <a:gd name="T27" fmla="*/ 866444219 h 270"/>
                  <a:gd name="T28" fmla="*/ 800283378 w 275"/>
                  <a:gd name="T29" fmla="*/ 928333443 h 270"/>
                  <a:gd name="T30" fmla="*/ 717495839 w 275"/>
                  <a:gd name="T31" fmla="*/ 948960562 h 270"/>
                  <a:gd name="T32" fmla="*/ 655403050 w 275"/>
                  <a:gd name="T33" fmla="*/ 887073960 h 270"/>
                  <a:gd name="T34" fmla="*/ 517422942 w 275"/>
                  <a:gd name="T35" fmla="*/ 598257418 h 270"/>
                  <a:gd name="T36" fmla="*/ 351847863 w 275"/>
                  <a:gd name="T37" fmla="*/ 556997935 h 270"/>
                  <a:gd name="T38" fmla="*/ 227667785 w 275"/>
                  <a:gd name="T39" fmla="*/ 515741075 h 270"/>
                  <a:gd name="T40" fmla="*/ 206970244 w 275"/>
                  <a:gd name="T41" fmla="*/ 474481592 h 270"/>
                  <a:gd name="T42" fmla="*/ 20697547 w 275"/>
                  <a:gd name="T43" fmla="*/ 247554355 h 270"/>
                  <a:gd name="T44" fmla="*/ 82787560 w 275"/>
                  <a:gd name="T45" fmla="*/ 144408230 h 270"/>
                  <a:gd name="T46" fmla="*/ 124182663 w 275"/>
                  <a:gd name="T47" fmla="*/ 185665132 h 270"/>
                  <a:gd name="T48" fmla="*/ 124182663 w 275"/>
                  <a:gd name="T49" fmla="*/ 206294873 h 270"/>
                  <a:gd name="T50" fmla="*/ 227667785 w 275"/>
                  <a:gd name="T51" fmla="*/ 309443579 h 270"/>
                  <a:gd name="T52" fmla="*/ 413940488 w 275"/>
                  <a:gd name="T53" fmla="*/ 350703144 h 270"/>
                  <a:gd name="T54" fmla="*/ 572615511 w 275"/>
                  <a:gd name="T55" fmla="*/ 268184097 h 270"/>
                  <a:gd name="T56" fmla="*/ 634708135 w 275"/>
                  <a:gd name="T57" fmla="*/ 268184097 h 270"/>
                  <a:gd name="T58" fmla="*/ 717495839 w 275"/>
                  <a:gd name="T59" fmla="*/ 185665132 h 270"/>
                  <a:gd name="T60" fmla="*/ 841675835 w 275"/>
                  <a:gd name="T61" fmla="*/ 0 h 270"/>
                  <a:gd name="T62" fmla="*/ 841675835 w 275"/>
                  <a:gd name="T63" fmla="*/ 103148748 h 270"/>
                  <a:gd name="T64" fmla="*/ 945160916 w 275"/>
                  <a:gd name="T65" fmla="*/ 185665132 h 270"/>
                  <a:gd name="T66" fmla="*/ 1193526160 w 275"/>
                  <a:gd name="T67" fmla="*/ 309443579 h 270"/>
                  <a:gd name="T68" fmla="*/ 1441889107 w 275"/>
                  <a:gd name="T69" fmla="*/ 763295512 h 270"/>
                  <a:gd name="T70" fmla="*/ 1524676646 w 275"/>
                  <a:gd name="T71" fmla="*/ 948960562 h 270"/>
                  <a:gd name="T72" fmla="*/ 1835131889 w 275"/>
                  <a:gd name="T73" fmla="*/ 1134628234 h 270"/>
                  <a:gd name="T74" fmla="*/ 1835131889 w 275"/>
                  <a:gd name="T75" fmla="*/ 1175887716 h 270"/>
                  <a:gd name="T76" fmla="*/ 1648859269 w 275"/>
                  <a:gd name="T77" fmla="*/ 1175887716 h 270"/>
                  <a:gd name="T78" fmla="*/ 1648859269 w 275"/>
                  <a:gd name="T79" fmla="*/ 1258406681 h 270"/>
                  <a:gd name="T80" fmla="*/ 1752341723 w 275"/>
                  <a:gd name="T81" fmla="*/ 1299663542 h 270"/>
                  <a:gd name="T82" fmla="*/ 1752341723 w 275"/>
                  <a:gd name="T83" fmla="*/ 1382182835 h 270"/>
                  <a:gd name="T84" fmla="*/ 1897221887 w 275"/>
                  <a:gd name="T85" fmla="*/ 1444072059 h 270"/>
                  <a:gd name="T86" fmla="*/ 1897221887 w 275"/>
                  <a:gd name="T87" fmla="*/ 1464701800 h 270"/>
                  <a:gd name="T88" fmla="*/ 1752341723 w 275"/>
                  <a:gd name="T89" fmla="*/ 1609109989 h 270"/>
                  <a:gd name="T90" fmla="*/ 1752341723 w 275"/>
                  <a:gd name="T91" fmla="*/ 1629737108 h 270"/>
                  <a:gd name="T92" fmla="*/ 1586766644 w 275"/>
                  <a:gd name="T93" fmla="*/ 1774145298 h 270"/>
                  <a:gd name="T94" fmla="*/ 1462586648 w 275"/>
                  <a:gd name="T95" fmla="*/ 1815404780 h 270"/>
                  <a:gd name="T96" fmla="*/ 1462586648 w 275"/>
                  <a:gd name="T97" fmla="*/ 1836034522 h 270"/>
                  <a:gd name="T98" fmla="*/ 1276313700 w 275"/>
                  <a:gd name="T99" fmla="*/ 1815404780 h 270"/>
                  <a:gd name="T100" fmla="*/ 1193526160 w 275"/>
                  <a:gd name="T101" fmla="*/ 1856664263 h 27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75"/>
                  <a:gd name="T154" fmla="*/ 0 h 270"/>
                  <a:gd name="T155" fmla="*/ 275 w 275"/>
                  <a:gd name="T156" fmla="*/ 270 h 27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75" h="270">
                    <a:moveTo>
                      <a:pt x="173" y="270"/>
                    </a:moveTo>
                    <a:cubicBezTo>
                      <a:pt x="164" y="267"/>
                      <a:pt x="161" y="267"/>
                      <a:pt x="158" y="267"/>
                    </a:cubicBezTo>
                    <a:cubicBezTo>
                      <a:pt x="158" y="264"/>
                      <a:pt x="158" y="264"/>
                      <a:pt x="158" y="261"/>
                    </a:cubicBezTo>
                    <a:cubicBezTo>
                      <a:pt x="146" y="258"/>
                      <a:pt x="173" y="249"/>
                      <a:pt x="176" y="249"/>
                    </a:cubicBezTo>
                    <a:cubicBezTo>
                      <a:pt x="176" y="246"/>
                      <a:pt x="179" y="246"/>
                      <a:pt x="179" y="243"/>
                    </a:cubicBezTo>
                    <a:cubicBezTo>
                      <a:pt x="179" y="219"/>
                      <a:pt x="164" y="225"/>
                      <a:pt x="152" y="222"/>
                    </a:cubicBezTo>
                    <a:cubicBezTo>
                      <a:pt x="143" y="222"/>
                      <a:pt x="140" y="213"/>
                      <a:pt x="140" y="213"/>
                    </a:cubicBezTo>
                    <a:cubicBezTo>
                      <a:pt x="128" y="207"/>
                      <a:pt x="122" y="204"/>
                      <a:pt x="119" y="198"/>
                    </a:cubicBezTo>
                    <a:cubicBezTo>
                      <a:pt x="110" y="192"/>
                      <a:pt x="110" y="189"/>
                      <a:pt x="110" y="186"/>
                    </a:cubicBezTo>
                    <a:cubicBezTo>
                      <a:pt x="116" y="180"/>
                      <a:pt x="116" y="174"/>
                      <a:pt x="116" y="168"/>
                    </a:cubicBezTo>
                    <a:cubicBezTo>
                      <a:pt x="116" y="165"/>
                      <a:pt x="116" y="162"/>
                      <a:pt x="119" y="159"/>
                    </a:cubicBezTo>
                    <a:cubicBezTo>
                      <a:pt x="125" y="159"/>
                      <a:pt x="134" y="162"/>
                      <a:pt x="143" y="153"/>
                    </a:cubicBezTo>
                    <a:cubicBezTo>
                      <a:pt x="143" y="141"/>
                      <a:pt x="140" y="129"/>
                      <a:pt x="134" y="126"/>
                    </a:cubicBezTo>
                    <a:cubicBezTo>
                      <a:pt x="125" y="126"/>
                      <a:pt x="122" y="126"/>
                      <a:pt x="116" y="126"/>
                    </a:cubicBezTo>
                    <a:cubicBezTo>
                      <a:pt x="116" y="129"/>
                      <a:pt x="116" y="132"/>
                      <a:pt x="116" y="135"/>
                    </a:cubicBezTo>
                    <a:cubicBezTo>
                      <a:pt x="113" y="135"/>
                      <a:pt x="107" y="135"/>
                      <a:pt x="104" y="138"/>
                    </a:cubicBezTo>
                    <a:cubicBezTo>
                      <a:pt x="101" y="132"/>
                      <a:pt x="101" y="132"/>
                      <a:pt x="95" y="129"/>
                    </a:cubicBezTo>
                    <a:cubicBezTo>
                      <a:pt x="86" y="111"/>
                      <a:pt x="83" y="96"/>
                      <a:pt x="75" y="87"/>
                    </a:cubicBezTo>
                    <a:cubicBezTo>
                      <a:pt x="66" y="81"/>
                      <a:pt x="57" y="81"/>
                      <a:pt x="51" y="81"/>
                    </a:cubicBezTo>
                    <a:cubicBezTo>
                      <a:pt x="45" y="78"/>
                      <a:pt x="39" y="75"/>
                      <a:pt x="33" y="75"/>
                    </a:cubicBezTo>
                    <a:cubicBezTo>
                      <a:pt x="30" y="72"/>
                      <a:pt x="30" y="72"/>
                      <a:pt x="30" y="69"/>
                    </a:cubicBezTo>
                    <a:cubicBezTo>
                      <a:pt x="24" y="57"/>
                      <a:pt x="12" y="42"/>
                      <a:pt x="3" y="36"/>
                    </a:cubicBezTo>
                    <a:cubicBezTo>
                      <a:pt x="3" y="27"/>
                      <a:pt x="0" y="15"/>
                      <a:pt x="12" y="21"/>
                    </a:cubicBezTo>
                    <a:cubicBezTo>
                      <a:pt x="15" y="24"/>
                      <a:pt x="15" y="27"/>
                      <a:pt x="18" y="27"/>
                    </a:cubicBezTo>
                    <a:cubicBezTo>
                      <a:pt x="18" y="30"/>
                      <a:pt x="18" y="30"/>
                      <a:pt x="18" y="30"/>
                    </a:cubicBezTo>
                    <a:cubicBezTo>
                      <a:pt x="24" y="33"/>
                      <a:pt x="27" y="36"/>
                      <a:pt x="33" y="45"/>
                    </a:cubicBezTo>
                    <a:cubicBezTo>
                      <a:pt x="39" y="48"/>
                      <a:pt x="48" y="51"/>
                      <a:pt x="60" y="51"/>
                    </a:cubicBezTo>
                    <a:cubicBezTo>
                      <a:pt x="69" y="48"/>
                      <a:pt x="75" y="24"/>
                      <a:pt x="83" y="39"/>
                    </a:cubicBezTo>
                    <a:cubicBezTo>
                      <a:pt x="86" y="39"/>
                      <a:pt x="89" y="39"/>
                      <a:pt x="92" y="39"/>
                    </a:cubicBezTo>
                    <a:cubicBezTo>
                      <a:pt x="95" y="36"/>
                      <a:pt x="98" y="30"/>
                      <a:pt x="104" y="27"/>
                    </a:cubicBezTo>
                    <a:cubicBezTo>
                      <a:pt x="104" y="15"/>
                      <a:pt x="107" y="0"/>
                      <a:pt x="122" y="0"/>
                    </a:cubicBezTo>
                    <a:cubicBezTo>
                      <a:pt x="122" y="6"/>
                      <a:pt x="122" y="9"/>
                      <a:pt x="122" y="15"/>
                    </a:cubicBezTo>
                    <a:cubicBezTo>
                      <a:pt x="128" y="18"/>
                      <a:pt x="131" y="24"/>
                      <a:pt x="137" y="27"/>
                    </a:cubicBezTo>
                    <a:cubicBezTo>
                      <a:pt x="146" y="30"/>
                      <a:pt x="158" y="39"/>
                      <a:pt x="173" y="45"/>
                    </a:cubicBezTo>
                    <a:cubicBezTo>
                      <a:pt x="182" y="66"/>
                      <a:pt x="194" y="87"/>
                      <a:pt x="209" y="111"/>
                    </a:cubicBezTo>
                    <a:cubicBezTo>
                      <a:pt x="209" y="117"/>
                      <a:pt x="212" y="129"/>
                      <a:pt x="221" y="138"/>
                    </a:cubicBezTo>
                    <a:cubicBezTo>
                      <a:pt x="236" y="147"/>
                      <a:pt x="248" y="153"/>
                      <a:pt x="266" y="165"/>
                    </a:cubicBezTo>
                    <a:cubicBezTo>
                      <a:pt x="266" y="168"/>
                      <a:pt x="266" y="168"/>
                      <a:pt x="266" y="171"/>
                    </a:cubicBezTo>
                    <a:cubicBezTo>
                      <a:pt x="263" y="174"/>
                      <a:pt x="239" y="171"/>
                      <a:pt x="239" y="171"/>
                    </a:cubicBezTo>
                    <a:cubicBezTo>
                      <a:pt x="239" y="174"/>
                      <a:pt x="239" y="177"/>
                      <a:pt x="239" y="183"/>
                    </a:cubicBezTo>
                    <a:cubicBezTo>
                      <a:pt x="242" y="183"/>
                      <a:pt x="248" y="186"/>
                      <a:pt x="254" y="189"/>
                    </a:cubicBezTo>
                    <a:cubicBezTo>
                      <a:pt x="254" y="192"/>
                      <a:pt x="251" y="195"/>
                      <a:pt x="254" y="201"/>
                    </a:cubicBezTo>
                    <a:cubicBezTo>
                      <a:pt x="260" y="204"/>
                      <a:pt x="266" y="207"/>
                      <a:pt x="275" y="210"/>
                    </a:cubicBezTo>
                    <a:cubicBezTo>
                      <a:pt x="275" y="213"/>
                      <a:pt x="275" y="213"/>
                      <a:pt x="275" y="213"/>
                    </a:cubicBezTo>
                    <a:cubicBezTo>
                      <a:pt x="275" y="225"/>
                      <a:pt x="263" y="228"/>
                      <a:pt x="254" y="234"/>
                    </a:cubicBezTo>
                    <a:cubicBezTo>
                      <a:pt x="254" y="237"/>
                      <a:pt x="254" y="237"/>
                      <a:pt x="254" y="237"/>
                    </a:cubicBezTo>
                    <a:cubicBezTo>
                      <a:pt x="251" y="237"/>
                      <a:pt x="233" y="255"/>
                      <a:pt x="230" y="258"/>
                    </a:cubicBezTo>
                    <a:cubicBezTo>
                      <a:pt x="224" y="261"/>
                      <a:pt x="218" y="261"/>
                      <a:pt x="212" y="264"/>
                    </a:cubicBezTo>
                    <a:cubicBezTo>
                      <a:pt x="212" y="267"/>
                      <a:pt x="212" y="267"/>
                      <a:pt x="212" y="267"/>
                    </a:cubicBezTo>
                    <a:cubicBezTo>
                      <a:pt x="203" y="267"/>
                      <a:pt x="194" y="267"/>
                      <a:pt x="185" y="264"/>
                    </a:cubicBezTo>
                    <a:cubicBezTo>
                      <a:pt x="182" y="267"/>
                      <a:pt x="179" y="270"/>
                      <a:pt x="173" y="27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34" name="Freeform 12"/>
              <p:cNvSpPr>
                <a:spLocks/>
              </p:cNvSpPr>
              <p:nvPr/>
            </p:nvSpPr>
            <p:spPr bwMode="auto">
              <a:xfrm>
                <a:off x="5167743" y="1034765"/>
                <a:ext cx="2594173" cy="2016358"/>
              </a:xfrm>
              <a:custGeom>
                <a:avLst/>
                <a:gdLst>
                  <a:gd name="T0" fmla="*/ 1853463737 w 1088"/>
                  <a:gd name="T1" fmla="*/ 2147483647 h 932"/>
                  <a:gd name="T2" fmla="*/ 1729441571 w 1088"/>
                  <a:gd name="T3" fmla="*/ 2147483647 h 932"/>
                  <a:gd name="T4" fmla="*/ 1192004856 w 1088"/>
                  <a:gd name="T5" fmla="*/ 2147483647 h 932"/>
                  <a:gd name="T6" fmla="*/ 654568305 w 1088"/>
                  <a:gd name="T7" fmla="*/ 2147483647 h 932"/>
                  <a:gd name="T8" fmla="*/ 737250788 w 1088"/>
                  <a:gd name="T9" fmla="*/ 2147483647 h 932"/>
                  <a:gd name="T10" fmla="*/ 165364679 w 1088"/>
                  <a:gd name="T11" fmla="*/ 2147483647 h 932"/>
                  <a:gd name="T12" fmla="*/ 0 w 1088"/>
                  <a:gd name="T13" fmla="*/ 2147483647 h 932"/>
                  <a:gd name="T14" fmla="*/ 1171333620 w 1088"/>
                  <a:gd name="T15" fmla="*/ 2147483647 h 932"/>
                  <a:gd name="T16" fmla="*/ 1688099099 w 1088"/>
                  <a:gd name="T17" fmla="*/ 2147483647 h 932"/>
                  <a:gd name="T18" fmla="*/ 2147483647 w 1088"/>
                  <a:gd name="T19" fmla="*/ 2147483647 h 932"/>
                  <a:gd name="T20" fmla="*/ 2147483647 w 1088"/>
                  <a:gd name="T21" fmla="*/ 2147483647 h 932"/>
                  <a:gd name="T22" fmla="*/ 2147483647 w 1088"/>
                  <a:gd name="T23" fmla="*/ 2147483647 h 932"/>
                  <a:gd name="T24" fmla="*/ 2147483647 w 1088"/>
                  <a:gd name="T25" fmla="*/ 2147483647 h 932"/>
                  <a:gd name="T26" fmla="*/ 2147483647 w 1088"/>
                  <a:gd name="T27" fmla="*/ 2147483647 h 932"/>
                  <a:gd name="T28" fmla="*/ 2147483647 w 1088"/>
                  <a:gd name="T29" fmla="*/ 2147483647 h 932"/>
                  <a:gd name="T30" fmla="*/ 2147483647 w 1088"/>
                  <a:gd name="T31" fmla="*/ 2147483647 h 932"/>
                  <a:gd name="T32" fmla="*/ 2147483647 w 1088"/>
                  <a:gd name="T33" fmla="*/ 2028205796 h 932"/>
                  <a:gd name="T34" fmla="*/ 2147483647 w 1088"/>
                  <a:gd name="T35" fmla="*/ 2147483647 h 932"/>
                  <a:gd name="T36" fmla="*/ 2147483647 w 1088"/>
                  <a:gd name="T37" fmla="*/ 2110988714 h 932"/>
                  <a:gd name="T38" fmla="*/ 2147483647 w 1088"/>
                  <a:gd name="T39" fmla="*/ 1469414530 h 932"/>
                  <a:gd name="T40" fmla="*/ 2147483647 w 1088"/>
                  <a:gd name="T41" fmla="*/ 827837392 h 932"/>
                  <a:gd name="T42" fmla="*/ 2147483647 w 1088"/>
                  <a:gd name="T43" fmla="*/ 289742923 h 932"/>
                  <a:gd name="T44" fmla="*/ 2147483647 w 1088"/>
                  <a:gd name="T45" fmla="*/ 41391469 h 932"/>
                  <a:gd name="T46" fmla="*/ 2147483647 w 1088"/>
                  <a:gd name="T47" fmla="*/ 393222966 h 932"/>
                  <a:gd name="T48" fmla="*/ 2147483647 w 1088"/>
                  <a:gd name="T49" fmla="*/ 600182889 h 932"/>
                  <a:gd name="T50" fmla="*/ 2147483647 w 1088"/>
                  <a:gd name="T51" fmla="*/ 496702928 h 932"/>
                  <a:gd name="T52" fmla="*/ 2147483647 w 1088"/>
                  <a:gd name="T53" fmla="*/ 1262454280 h 932"/>
                  <a:gd name="T54" fmla="*/ 2147483647 w 1088"/>
                  <a:gd name="T55" fmla="*/ 1634980367 h 932"/>
                  <a:gd name="T56" fmla="*/ 2147483647 w 1088"/>
                  <a:gd name="T57" fmla="*/ 2090291671 h 932"/>
                  <a:gd name="T58" fmla="*/ 2147483647 w 1088"/>
                  <a:gd name="T59" fmla="*/ 2147483647 h 932"/>
                  <a:gd name="T60" fmla="*/ 2147483647 w 1088"/>
                  <a:gd name="T61" fmla="*/ 2147483647 h 932"/>
                  <a:gd name="T62" fmla="*/ 2147483647 w 1088"/>
                  <a:gd name="T63" fmla="*/ 2147483647 h 932"/>
                  <a:gd name="T64" fmla="*/ 2147483647 w 1088"/>
                  <a:gd name="T65" fmla="*/ 2147483647 h 932"/>
                  <a:gd name="T66" fmla="*/ 2147483647 w 1088"/>
                  <a:gd name="T67" fmla="*/ 2147483647 h 932"/>
                  <a:gd name="T68" fmla="*/ 2147483647 w 1088"/>
                  <a:gd name="T69" fmla="*/ 2147483647 h 932"/>
                  <a:gd name="T70" fmla="*/ 2147483647 w 1088"/>
                  <a:gd name="T71" fmla="*/ 2147483647 h 932"/>
                  <a:gd name="T72" fmla="*/ 2147483647 w 1088"/>
                  <a:gd name="T73" fmla="*/ 2147483647 h 932"/>
                  <a:gd name="T74" fmla="*/ 2147483647 w 1088"/>
                  <a:gd name="T75" fmla="*/ 2147483647 h 932"/>
                  <a:gd name="T76" fmla="*/ 2147483647 w 1088"/>
                  <a:gd name="T77" fmla="*/ 2147483647 h 932"/>
                  <a:gd name="T78" fmla="*/ 2147483647 w 1088"/>
                  <a:gd name="T79" fmla="*/ 2147483647 h 932"/>
                  <a:gd name="T80" fmla="*/ 2147483647 w 1088"/>
                  <a:gd name="T81" fmla="*/ 2147483647 h 932"/>
                  <a:gd name="T82" fmla="*/ 2147483647 w 1088"/>
                  <a:gd name="T83" fmla="*/ 2147483647 h 932"/>
                  <a:gd name="T84" fmla="*/ 2147483647 w 1088"/>
                  <a:gd name="T85" fmla="*/ 2147483647 h 932"/>
                  <a:gd name="T86" fmla="*/ 2147483647 w 1088"/>
                  <a:gd name="T87" fmla="*/ 2147483647 h 932"/>
                  <a:gd name="T88" fmla="*/ 2147483647 w 1088"/>
                  <a:gd name="T89" fmla="*/ 2147483647 h 932"/>
                  <a:gd name="T90" fmla="*/ 2147483647 w 1088"/>
                  <a:gd name="T91" fmla="*/ 2147483647 h 932"/>
                  <a:gd name="T92" fmla="*/ 2147483647 w 1088"/>
                  <a:gd name="T93" fmla="*/ 2147483647 h 932"/>
                  <a:gd name="T94" fmla="*/ 2147483647 w 1088"/>
                  <a:gd name="T95" fmla="*/ 2147483647 h 932"/>
                  <a:gd name="T96" fmla="*/ 2147483647 w 1088"/>
                  <a:gd name="T97" fmla="*/ 2147483647 h 932"/>
                  <a:gd name="T98" fmla="*/ 2147483647 w 1088"/>
                  <a:gd name="T99" fmla="*/ 2147483647 h 93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088"/>
                  <a:gd name="T151" fmla="*/ 0 h 932"/>
                  <a:gd name="T152" fmla="*/ 1088 w 1088"/>
                  <a:gd name="T153" fmla="*/ 932 h 93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088" h="932">
                    <a:moveTo>
                      <a:pt x="278" y="932"/>
                    </a:moveTo>
                    <a:cubicBezTo>
                      <a:pt x="272" y="926"/>
                      <a:pt x="266" y="920"/>
                      <a:pt x="260" y="914"/>
                    </a:cubicBezTo>
                    <a:cubicBezTo>
                      <a:pt x="254" y="908"/>
                      <a:pt x="251" y="902"/>
                      <a:pt x="248" y="893"/>
                    </a:cubicBezTo>
                    <a:cubicBezTo>
                      <a:pt x="248" y="872"/>
                      <a:pt x="251" y="866"/>
                      <a:pt x="269" y="854"/>
                    </a:cubicBezTo>
                    <a:cubicBezTo>
                      <a:pt x="272" y="851"/>
                      <a:pt x="275" y="851"/>
                      <a:pt x="278" y="848"/>
                    </a:cubicBezTo>
                    <a:cubicBezTo>
                      <a:pt x="281" y="842"/>
                      <a:pt x="281" y="839"/>
                      <a:pt x="284" y="836"/>
                    </a:cubicBezTo>
                    <a:cubicBezTo>
                      <a:pt x="284" y="833"/>
                      <a:pt x="284" y="830"/>
                      <a:pt x="284" y="827"/>
                    </a:cubicBezTo>
                    <a:cubicBezTo>
                      <a:pt x="275" y="809"/>
                      <a:pt x="266" y="812"/>
                      <a:pt x="251" y="818"/>
                    </a:cubicBezTo>
                    <a:cubicBezTo>
                      <a:pt x="248" y="821"/>
                      <a:pt x="245" y="824"/>
                      <a:pt x="239" y="827"/>
                    </a:cubicBezTo>
                    <a:cubicBezTo>
                      <a:pt x="236" y="830"/>
                      <a:pt x="230" y="833"/>
                      <a:pt x="224" y="836"/>
                    </a:cubicBezTo>
                    <a:cubicBezTo>
                      <a:pt x="218" y="830"/>
                      <a:pt x="215" y="830"/>
                      <a:pt x="212" y="827"/>
                    </a:cubicBezTo>
                    <a:cubicBezTo>
                      <a:pt x="176" y="827"/>
                      <a:pt x="176" y="824"/>
                      <a:pt x="173" y="860"/>
                    </a:cubicBezTo>
                    <a:cubicBezTo>
                      <a:pt x="167" y="866"/>
                      <a:pt x="155" y="857"/>
                      <a:pt x="152" y="857"/>
                    </a:cubicBezTo>
                    <a:cubicBezTo>
                      <a:pt x="146" y="848"/>
                      <a:pt x="137" y="839"/>
                      <a:pt x="134" y="836"/>
                    </a:cubicBezTo>
                    <a:cubicBezTo>
                      <a:pt x="128" y="821"/>
                      <a:pt x="125" y="812"/>
                      <a:pt x="113" y="809"/>
                    </a:cubicBezTo>
                    <a:cubicBezTo>
                      <a:pt x="107" y="803"/>
                      <a:pt x="101" y="797"/>
                      <a:pt x="95" y="788"/>
                    </a:cubicBezTo>
                    <a:cubicBezTo>
                      <a:pt x="92" y="788"/>
                      <a:pt x="86" y="788"/>
                      <a:pt x="83" y="788"/>
                    </a:cubicBezTo>
                    <a:cubicBezTo>
                      <a:pt x="83" y="773"/>
                      <a:pt x="98" y="773"/>
                      <a:pt x="104" y="761"/>
                    </a:cubicBezTo>
                    <a:cubicBezTo>
                      <a:pt x="107" y="755"/>
                      <a:pt x="110" y="752"/>
                      <a:pt x="113" y="746"/>
                    </a:cubicBezTo>
                    <a:cubicBezTo>
                      <a:pt x="113" y="737"/>
                      <a:pt x="110" y="734"/>
                      <a:pt x="107" y="731"/>
                    </a:cubicBezTo>
                    <a:cubicBezTo>
                      <a:pt x="86" y="731"/>
                      <a:pt x="63" y="734"/>
                      <a:pt x="45" y="740"/>
                    </a:cubicBezTo>
                    <a:cubicBezTo>
                      <a:pt x="39" y="746"/>
                      <a:pt x="39" y="746"/>
                      <a:pt x="33" y="746"/>
                    </a:cubicBezTo>
                    <a:cubicBezTo>
                      <a:pt x="33" y="737"/>
                      <a:pt x="33" y="731"/>
                      <a:pt x="33" y="723"/>
                    </a:cubicBezTo>
                    <a:cubicBezTo>
                      <a:pt x="30" y="720"/>
                      <a:pt x="27" y="717"/>
                      <a:pt x="24" y="714"/>
                    </a:cubicBezTo>
                    <a:cubicBezTo>
                      <a:pt x="18" y="708"/>
                      <a:pt x="12" y="702"/>
                      <a:pt x="6" y="699"/>
                    </a:cubicBezTo>
                    <a:cubicBezTo>
                      <a:pt x="6" y="690"/>
                      <a:pt x="9" y="687"/>
                      <a:pt x="12" y="678"/>
                    </a:cubicBezTo>
                    <a:cubicBezTo>
                      <a:pt x="12" y="666"/>
                      <a:pt x="12" y="660"/>
                      <a:pt x="12" y="651"/>
                    </a:cubicBezTo>
                    <a:cubicBezTo>
                      <a:pt x="6" y="648"/>
                      <a:pt x="3" y="642"/>
                      <a:pt x="0" y="639"/>
                    </a:cubicBezTo>
                    <a:cubicBezTo>
                      <a:pt x="0" y="633"/>
                      <a:pt x="0" y="627"/>
                      <a:pt x="0" y="621"/>
                    </a:cubicBezTo>
                    <a:cubicBezTo>
                      <a:pt x="18" y="627"/>
                      <a:pt x="33" y="630"/>
                      <a:pt x="51" y="633"/>
                    </a:cubicBezTo>
                    <a:cubicBezTo>
                      <a:pt x="77" y="633"/>
                      <a:pt x="107" y="633"/>
                      <a:pt x="137" y="633"/>
                    </a:cubicBezTo>
                    <a:cubicBezTo>
                      <a:pt x="143" y="636"/>
                      <a:pt x="161" y="639"/>
                      <a:pt x="170" y="645"/>
                    </a:cubicBezTo>
                    <a:cubicBezTo>
                      <a:pt x="179" y="651"/>
                      <a:pt x="188" y="660"/>
                      <a:pt x="200" y="666"/>
                    </a:cubicBezTo>
                    <a:cubicBezTo>
                      <a:pt x="200" y="669"/>
                      <a:pt x="203" y="669"/>
                      <a:pt x="206" y="672"/>
                    </a:cubicBezTo>
                    <a:cubicBezTo>
                      <a:pt x="215" y="672"/>
                      <a:pt x="224" y="672"/>
                      <a:pt x="233" y="675"/>
                    </a:cubicBezTo>
                    <a:cubicBezTo>
                      <a:pt x="236" y="678"/>
                      <a:pt x="239" y="681"/>
                      <a:pt x="245" y="684"/>
                    </a:cubicBezTo>
                    <a:cubicBezTo>
                      <a:pt x="254" y="687"/>
                      <a:pt x="266" y="690"/>
                      <a:pt x="278" y="693"/>
                    </a:cubicBezTo>
                    <a:cubicBezTo>
                      <a:pt x="287" y="696"/>
                      <a:pt x="296" y="717"/>
                      <a:pt x="314" y="705"/>
                    </a:cubicBezTo>
                    <a:cubicBezTo>
                      <a:pt x="320" y="696"/>
                      <a:pt x="329" y="693"/>
                      <a:pt x="341" y="690"/>
                    </a:cubicBezTo>
                    <a:cubicBezTo>
                      <a:pt x="350" y="681"/>
                      <a:pt x="356" y="678"/>
                      <a:pt x="370" y="675"/>
                    </a:cubicBezTo>
                    <a:cubicBezTo>
                      <a:pt x="370" y="669"/>
                      <a:pt x="382" y="669"/>
                      <a:pt x="388" y="666"/>
                    </a:cubicBezTo>
                    <a:cubicBezTo>
                      <a:pt x="397" y="663"/>
                      <a:pt x="406" y="654"/>
                      <a:pt x="415" y="651"/>
                    </a:cubicBezTo>
                    <a:cubicBezTo>
                      <a:pt x="424" y="648"/>
                      <a:pt x="433" y="648"/>
                      <a:pt x="445" y="648"/>
                    </a:cubicBezTo>
                    <a:cubicBezTo>
                      <a:pt x="457" y="651"/>
                      <a:pt x="493" y="660"/>
                      <a:pt x="505" y="648"/>
                    </a:cubicBezTo>
                    <a:cubicBezTo>
                      <a:pt x="529" y="645"/>
                      <a:pt x="544" y="624"/>
                      <a:pt x="559" y="606"/>
                    </a:cubicBezTo>
                    <a:cubicBezTo>
                      <a:pt x="565" y="600"/>
                      <a:pt x="571" y="597"/>
                      <a:pt x="577" y="591"/>
                    </a:cubicBezTo>
                    <a:cubicBezTo>
                      <a:pt x="580" y="588"/>
                      <a:pt x="586" y="582"/>
                      <a:pt x="592" y="579"/>
                    </a:cubicBezTo>
                    <a:cubicBezTo>
                      <a:pt x="595" y="576"/>
                      <a:pt x="601" y="573"/>
                      <a:pt x="607" y="570"/>
                    </a:cubicBezTo>
                    <a:cubicBezTo>
                      <a:pt x="607" y="564"/>
                      <a:pt x="607" y="561"/>
                      <a:pt x="607" y="555"/>
                    </a:cubicBezTo>
                    <a:cubicBezTo>
                      <a:pt x="601" y="549"/>
                      <a:pt x="595" y="546"/>
                      <a:pt x="589" y="540"/>
                    </a:cubicBezTo>
                    <a:cubicBezTo>
                      <a:pt x="589" y="537"/>
                      <a:pt x="586" y="531"/>
                      <a:pt x="586" y="528"/>
                    </a:cubicBezTo>
                    <a:cubicBezTo>
                      <a:pt x="589" y="510"/>
                      <a:pt x="586" y="498"/>
                      <a:pt x="604" y="489"/>
                    </a:cubicBezTo>
                    <a:cubicBezTo>
                      <a:pt x="604" y="483"/>
                      <a:pt x="616" y="492"/>
                      <a:pt x="628" y="504"/>
                    </a:cubicBezTo>
                    <a:cubicBezTo>
                      <a:pt x="631" y="504"/>
                      <a:pt x="637" y="504"/>
                      <a:pt x="640" y="507"/>
                    </a:cubicBezTo>
                    <a:cubicBezTo>
                      <a:pt x="646" y="507"/>
                      <a:pt x="649" y="507"/>
                      <a:pt x="654" y="507"/>
                    </a:cubicBezTo>
                    <a:cubicBezTo>
                      <a:pt x="669" y="501"/>
                      <a:pt x="684" y="480"/>
                      <a:pt x="696" y="465"/>
                    </a:cubicBezTo>
                    <a:cubicBezTo>
                      <a:pt x="705" y="456"/>
                      <a:pt x="711" y="462"/>
                      <a:pt x="726" y="462"/>
                    </a:cubicBezTo>
                    <a:cubicBezTo>
                      <a:pt x="729" y="456"/>
                      <a:pt x="735" y="456"/>
                      <a:pt x="744" y="453"/>
                    </a:cubicBezTo>
                    <a:cubicBezTo>
                      <a:pt x="747" y="447"/>
                      <a:pt x="753" y="444"/>
                      <a:pt x="756" y="441"/>
                    </a:cubicBezTo>
                    <a:cubicBezTo>
                      <a:pt x="762" y="441"/>
                      <a:pt x="765" y="423"/>
                      <a:pt x="765" y="423"/>
                    </a:cubicBezTo>
                    <a:cubicBezTo>
                      <a:pt x="774" y="399"/>
                      <a:pt x="780" y="408"/>
                      <a:pt x="801" y="399"/>
                    </a:cubicBezTo>
                    <a:cubicBezTo>
                      <a:pt x="810" y="390"/>
                      <a:pt x="816" y="384"/>
                      <a:pt x="828" y="378"/>
                    </a:cubicBezTo>
                    <a:cubicBezTo>
                      <a:pt x="837" y="372"/>
                      <a:pt x="867" y="375"/>
                      <a:pt x="885" y="378"/>
                    </a:cubicBezTo>
                    <a:cubicBezTo>
                      <a:pt x="888" y="375"/>
                      <a:pt x="891" y="375"/>
                      <a:pt x="894" y="375"/>
                    </a:cubicBezTo>
                    <a:cubicBezTo>
                      <a:pt x="903" y="363"/>
                      <a:pt x="897" y="348"/>
                      <a:pt x="891" y="339"/>
                    </a:cubicBezTo>
                    <a:cubicBezTo>
                      <a:pt x="888" y="336"/>
                      <a:pt x="885" y="330"/>
                      <a:pt x="879" y="327"/>
                    </a:cubicBezTo>
                    <a:cubicBezTo>
                      <a:pt x="873" y="321"/>
                      <a:pt x="864" y="318"/>
                      <a:pt x="855" y="315"/>
                    </a:cubicBezTo>
                    <a:cubicBezTo>
                      <a:pt x="855" y="306"/>
                      <a:pt x="843" y="297"/>
                      <a:pt x="840" y="294"/>
                    </a:cubicBezTo>
                    <a:cubicBezTo>
                      <a:pt x="837" y="294"/>
                      <a:pt x="831" y="294"/>
                      <a:pt x="825" y="294"/>
                    </a:cubicBezTo>
                    <a:cubicBezTo>
                      <a:pt x="822" y="297"/>
                      <a:pt x="819" y="300"/>
                      <a:pt x="819" y="303"/>
                    </a:cubicBezTo>
                    <a:cubicBezTo>
                      <a:pt x="813" y="303"/>
                      <a:pt x="807" y="303"/>
                      <a:pt x="801" y="303"/>
                    </a:cubicBezTo>
                    <a:cubicBezTo>
                      <a:pt x="801" y="309"/>
                      <a:pt x="801" y="315"/>
                      <a:pt x="798" y="321"/>
                    </a:cubicBezTo>
                    <a:cubicBezTo>
                      <a:pt x="789" y="327"/>
                      <a:pt x="774" y="315"/>
                      <a:pt x="768" y="315"/>
                    </a:cubicBezTo>
                    <a:cubicBezTo>
                      <a:pt x="765" y="315"/>
                      <a:pt x="759" y="315"/>
                      <a:pt x="756" y="315"/>
                    </a:cubicBezTo>
                    <a:cubicBezTo>
                      <a:pt x="747" y="318"/>
                      <a:pt x="741" y="321"/>
                      <a:pt x="735" y="327"/>
                    </a:cubicBezTo>
                    <a:cubicBezTo>
                      <a:pt x="720" y="327"/>
                      <a:pt x="717" y="315"/>
                      <a:pt x="717" y="306"/>
                    </a:cubicBezTo>
                    <a:cubicBezTo>
                      <a:pt x="723" y="303"/>
                      <a:pt x="726" y="297"/>
                      <a:pt x="732" y="294"/>
                    </a:cubicBezTo>
                    <a:cubicBezTo>
                      <a:pt x="732" y="279"/>
                      <a:pt x="732" y="273"/>
                      <a:pt x="732" y="267"/>
                    </a:cubicBezTo>
                    <a:cubicBezTo>
                      <a:pt x="735" y="258"/>
                      <a:pt x="738" y="252"/>
                      <a:pt x="741" y="246"/>
                    </a:cubicBezTo>
                    <a:cubicBezTo>
                      <a:pt x="741" y="231"/>
                      <a:pt x="741" y="222"/>
                      <a:pt x="747" y="213"/>
                    </a:cubicBezTo>
                    <a:cubicBezTo>
                      <a:pt x="750" y="213"/>
                      <a:pt x="756" y="213"/>
                      <a:pt x="759" y="213"/>
                    </a:cubicBezTo>
                    <a:cubicBezTo>
                      <a:pt x="771" y="213"/>
                      <a:pt x="795" y="219"/>
                      <a:pt x="810" y="207"/>
                    </a:cubicBezTo>
                    <a:cubicBezTo>
                      <a:pt x="819" y="198"/>
                      <a:pt x="831" y="192"/>
                      <a:pt x="840" y="180"/>
                    </a:cubicBezTo>
                    <a:cubicBezTo>
                      <a:pt x="840" y="165"/>
                      <a:pt x="837" y="126"/>
                      <a:pt x="852" y="120"/>
                    </a:cubicBezTo>
                    <a:cubicBezTo>
                      <a:pt x="861" y="105"/>
                      <a:pt x="858" y="90"/>
                      <a:pt x="870" y="78"/>
                    </a:cubicBezTo>
                    <a:cubicBezTo>
                      <a:pt x="867" y="72"/>
                      <a:pt x="867" y="66"/>
                      <a:pt x="867" y="57"/>
                    </a:cubicBezTo>
                    <a:cubicBezTo>
                      <a:pt x="867" y="54"/>
                      <a:pt x="867" y="54"/>
                      <a:pt x="867" y="54"/>
                    </a:cubicBezTo>
                    <a:cubicBezTo>
                      <a:pt x="861" y="48"/>
                      <a:pt x="858" y="45"/>
                      <a:pt x="855" y="42"/>
                    </a:cubicBezTo>
                    <a:cubicBezTo>
                      <a:pt x="852" y="39"/>
                      <a:pt x="849" y="36"/>
                      <a:pt x="846" y="36"/>
                    </a:cubicBezTo>
                    <a:cubicBezTo>
                      <a:pt x="846" y="21"/>
                      <a:pt x="852" y="15"/>
                      <a:pt x="864" y="9"/>
                    </a:cubicBezTo>
                    <a:cubicBezTo>
                      <a:pt x="876" y="9"/>
                      <a:pt x="882" y="0"/>
                      <a:pt x="894" y="0"/>
                    </a:cubicBezTo>
                    <a:cubicBezTo>
                      <a:pt x="894" y="3"/>
                      <a:pt x="897" y="6"/>
                      <a:pt x="900" y="6"/>
                    </a:cubicBezTo>
                    <a:cubicBezTo>
                      <a:pt x="900" y="12"/>
                      <a:pt x="897" y="15"/>
                      <a:pt x="897" y="21"/>
                    </a:cubicBezTo>
                    <a:cubicBezTo>
                      <a:pt x="891" y="27"/>
                      <a:pt x="888" y="27"/>
                      <a:pt x="888" y="39"/>
                    </a:cubicBezTo>
                    <a:cubicBezTo>
                      <a:pt x="891" y="42"/>
                      <a:pt x="894" y="45"/>
                      <a:pt x="900" y="48"/>
                    </a:cubicBezTo>
                    <a:cubicBezTo>
                      <a:pt x="903" y="54"/>
                      <a:pt x="906" y="57"/>
                      <a:pt x="918" y="57"/>
                    </a:cubicBezTo>
                    <a:cubicBezTo>
                      <a:pt x="918" y="51"/>
                      <a:pt x="921" y="45"/>
                      <a:pt x="921" y="39"/>
                    </a:cubicBezTo>
                    <a:cubicBezTo>
                      <a:pt x="927" y="39"/>
                      <a:pt x="933" y="39"/>
                      <a:pt x="941" y="45"/>
                    </a:cubicBezTo>
                    <a:cubicBezTo>
                      <a:pt x="944" y="48"/>
                      <a:pt x="944" y="48"/>
                      <a:pt x="947" y="51"/>
                    </a:cubicBezTo>
                    <a:cubicBezTo>
                      <a:pt x="947" y="63"/>
                      <a:pt x="950" y="78"/>
                      <a:pt x="959" y="87"/>
                    </a:cubicBezTo>
                    <a:cubicBezTo>
                      <a:pt x="962" y="90"/>
                      <a:pt x="962" y="90"/>
                      <a:pt x="965" y="93"/>
                    </a:cubicBezTo>
                    <a:cubicBezTo>
                      <a:pt x="971" y="90"/>
                      <a:pt x="974" y="90"/>
                      <a:pt x="980" y="90"/>
                    </a:cubicBezTo>
                    <a:cubicBezTo>
                      <a:pt x="995" y="84"/>
                      <a:pt x="1010" y="87"/>
                      <a:pt x="1022" y="75"/>
                    </a:cubicBezTo>
                    <a:cubicBezTo>
                      <a:pt x="1031" y="54"/>
                      <a:pt x="1046" y="51"/>
                      <a:pt x="1058" y="72"/>
                    </a:cubicBezTo>
                    <a:cubicBezTo>
                      <a:pt x="1061" y="81"/>
                      <a:pt x="1064" y="90"/>
                      <a:pt x="1070" y="99"/>
                    </a:cubicBezTo>
                    <a:cubicBezTo>
                      <a:pt x="1070" y="108"/>
                      <a:pt x="1061" y="138"/>
                      <a:pt x="1055" y="147"/>
                    </a:cubicBezTo>
                    <a:cubicBezTo>
                      <a:pt x="1055" y="150"/>
                      <a:pt x="1055" y="156"/>
                      <a:pt x="1055" y="159"/>
                    </a:cubicBezTo>
                    <a:cubicBezTo>
                      <a:pt x="1058" y="168"/>
                      <a:pt x="1064" y="174"/>
                      <a:pt x="1067" y="183"/>
                    </a:cubicBezTo>
                    <a:cubicBezTo>
                      <a:pt x="1067" y="192"/>
                      <a:pt x="1052" y="213"/>
                      <a:pt x="1070" y="225"/>
                    </a:cubicBezTo>
                    <a:cubicBezTo>
                      <a:pt x="1073" y="231"/>
                      <a:pt x="1070" y="243"/>
                      <a:pt x="1070" y="255"/>
                    </a:cubicBezTo>
                    <a:cubicBezTo>
                      <a:pt x="1067" y="255"/>
                      <a:pt x="1064" y="255"/>
                      <a:pt x="1058" y="255"/>
                    </a:cubicBezTo>
                    <a:cubicBezTo>
                      <a:pt x="1052" y="249"/>
                      <a:pt x="1055" y="243"/>
                      <a:pt x="1055" y="237"/>
                    </a:cubicBezTo>
                    <a:cubicBezTo>
                      <a:pt x="1055" y="231"/>
                      <a:pt x="1055" y="231"/>
                      <a:pt x="1049" y="228"/>
                    </a:cubicBezTo>
                    <a:cubicBezTo>
                      <a:pt x="1028" y="228"/>
                      <a:pt x="1043" y="237"/>
                      <a:pt x="1034" y="249"/>
                    </a:cubicBezTo>
                    <a:cubicBezTo>
                      <a:pt x="1025" y="258"/>
                      <a:pt x="1019" y="267"/>
                      <a:pt x="1016" y="282"/>
                    </a:cubicBezTo>
                    <a:cubicBezTo>
                      <a:pt x="1013" y="288"/>
                      <a:pt x="1004" y="297"/>
                      <a:pt x="998" y="303"/>
                    </a:cubicBezTo>
                    <a:cubicBezTo>
                      <a:pt x="998" y="309"/>
                      <a:pt x="995" y="315"/>
                      <a:pt x="995" y="321"/>
                    </a:cubicBezTo>
                    <a:cubicBezTo>
                      <a:pt x="1001" y="324"/>
                      <a:pt x="1001" y="327"/>
                      <a:pt x="1007" y="336"/>
                    </a:cubicBezTo>
                    <a:cubicBezTo>
                      <a:pt x="1013" y="339"/>
                      <a:pt x="1016" y="342"/>
                      <a:pt x="1022" y="348"/>
                    </a:cubicBezTo>
                    <a:cubicBezTo>
                      <a:pt x="1028" y="345"/>
                      <a:pt x="1031" y="345"/>
                      <a:pt x="1037" y="345"/>
                    </a:cubicBezTo>
                    <a:cubicBezTo>
                      <a:pt x="1037" y="342"/>
                      <a:pt x="1040" y="336"/>
                      <a:pt x="1043" y="333"/>
                    </a:cubicBezTo>
                    <a:cubicBezTo>
                      <a:pt x="1043" y="336"/>
                      <a:pt x="1049" y="342"/>
                      <a:pt x="1049" y="351"/>
                    </a:cubicBezTo>
                    <a:cubicBezTo>
                      <a:pt x="1043" y="351"/>
                      <a:pt x="1037" y="354"/>
                      <a:pt x="1031" y="357"/>
                    </a:cubicBezTo>
                    <a:cubicBezTo>
                      <a:pt x="1031" y="360"/>
                      <a:pt x="1028" y="369"/>
                      <a:pt x="1037" y="375"/>
                    </a:cubicBezTo>
                    <a:cubicBezTo>
                      <a:pt x="1034" y="384"/>
                      <a:pt x="1025" y="393"/>
                      <a:pt x="1016" y="399"/>
                    </a:cubicBezTo>
                    <a:cubicBezTo>
                      <a:pt x="1013" y="399"/>
                      <a:pt x="1013" y="399"/>
                      <a:pt x="1010" y="399"/>
                    </a:cubicBezTo>
                    <a:cubicBezTo>
                      <a:pt x="1004" y="393"/>
                      <a:pt x="995" y="390"/>
                      <a:pt x="989" y="384"/>
                    </a:cubicBezTo>
                    <a:cubicBezTo>
                      <a:pt x="986" y="384"/>
                      <a:pt x="983" y="384"/>
                      <a:pt x="980" y="384"/>
                    </a:cubicBezTo>
                    <a:cubicBezTo>
                      <a:pt x="977" y="387"/>
                      <a:pt x="974" y="393"/>
                      <a:pt x="974" y="396"/>
                    </a:cubicBezTo>
                    <a:cubicBezTo>
                      <a:pt x="974" y="399"/>
                      <a:pt x="974" y="405"/>
                      <a:pt x="974" y="408"/>
                    </a:cubicBezTo>
                    <a:cubicBezTo>
                      <a:pt x="980" y="414"/>
                      <a:pt x="995" y="420"/>
                      <a:pt x="1004" y="435"/>
                    </a:cubicBezTo>
                    <a:cubicBezTo>
                      <a:pt x="1004" y="441"/>
                      <a:pt x="1004" y="447"/>
                      <a:pt x="1004" y="453"/>
                    </a:cubicBezTo>
                    <a:cubicBezTo>
                      <a:pt x="1010" y="462"/>
                      <a:pt x="1016" y="474"/>
                      <a:pt x="1019" y="486"/>
                    </a:cubicBezTo>
                    <a:cubicBezTo>
                      <a:pt x="1019" y="489"/>
                      <a:pt x="1022" y="492"/>
                      <a:pt x="1025" y="492"/>
                    </a:cubicBezTo>
                    <a:cubicBezTo>
                      <a:pt x="1025" y="492"/>
                      <a:pt x="1028" y="492"/>
                      <a:pt x="1031" y="492"/>
                    </a:cubicBezTo>
                    <a:cubicBezTo>
                      <a:pt x="1034" y="489"/>
                      <a:pt x="1037" y="483"/>
                      <a:pt x="1037" y="480"/>
                    </a:cubicBezTo>
                    <a:cubicBezTo>
                      <a:pt x="1043" y="474"/>
                      <a:pt x="1046" y="471"/>
                      <a:pt x="1052" y="468"/>
                    </a:cubicBezTo>
                    <a:cubicBezTo>
                      <a:pt x="1055" y="474"/>
                      <a:pt x="1061" y="483"/>
                      <a:pt x="1067" y="498"/>
                    </a:cubicBezTo>
                    <a:cubicBezTo>
                      <a:pt x="1070" y="507"/>
                      <a:pt x="1070" y="519"/>
                      <a:pt x="1085" y="525"/>
                    </a:cubicBezTo>
                    <a:cubicBezTo>
                      <a:pt x="1085" y="528"/>
                      <a:pt x="1088" y="528"/>
                      <a:pt x="1088" y="531"/>
                    </a:cubicBezTo>
                    <a:cubicBezTo>
                      <a:pt x="1085" y="537"/>
                      <a:pt x="1085" y="549"/>
                      <a:pt x="1085" y="558"/>
                    </a:cubicBezTo>
                    <a:cubicBezTo>
                      <a:pt x="1085" y="561"/>
                      <a:pt x="1082" y="564"/>
                      <a:pt x="1079" y="564"/>
                    </a:cubicBezTo>
                    <a:cubicBezTo>
                      <a:pt x="1070" y="564"/>
                      <a:pt x="1070" y="561"/>
                      <a:pt x="1067" y="558"/>
                    </a:cubicBezTo>
                    <a:cubicBezTo>
                      <a:pt x="1040" y="558"/>
                      <a:pt x="1037" y="561"/>
                      <a:pt x="1028" y="582"/>
                    </a:cubicBezTo>
                    <a:cubicBezTo>
                      <a:pt x="1025" y="582"/>
                      <a:pt x="1025" y="582"/>
                      <a:pt x="1022" y="585"/>
                    </a:cubicBezTo>
                    <a:cubicBezTo>
                      <a:pt x="1022" y="591"/>
                      <a:pt x="998" y="606"/>
                      <a:pt x="995" y="609"/>
                    </a:cubicBezTo>
                    <a:cubicBezTo>
                      <a:pt x="992" y="615"/>
                      <a:pt x="977" y="624"/>
                      <a:pt x="971" y="627"/>
                    </a:cubicBezTo>
                    <a:cubicBezTo>
                      <a:pt x="968" y="630"/>
                      <a:pt x="965" y="633"/>
                      <a:pt x="965" y="633"/>
                    </a:cubicBezTo>
                    <a:cubicBezTo>
                      <a:pt x="962" y="633"/>
                      <a:pt x="959" y="636"/>
                      <a:pt x="956" y="636"/>
                    </a:cubicBezTo>
                    <a:cubicBezTo>
                      <a:pt x="953" y="633"/>
                      <a:pt x="950" y="630"/>
                      <a:pt x="947" y="627"/>
                    </a:cubicBezTo>
                    <a:cubicBezTo>
                      <a:pt x="941" y="609"/>
                      <a:pt x="938" y="609"/>
                      <a:pt x="927" y="609"/>
                    </a:cubicBezTo>
                    <a:cubicBezTo>
                      <a:pt x="921" y="621"/>
                      <a:pt x="918" y="639"/>
                      <a:pt x="933" y="651"/>
                    </a:cubicBezTo>
                    <a:cubicBezTo>
                      <a:pt x="933" y="657"/>
                      <a:pt x="933" y="663"/>
                      <a:pt x="933" y="672"/>
                    </a:cubicBezTo>
                    <a:cubicBezTo>
                      <a:pt x="915" y="672"/>
                      <a:pt x="900" y="675"/>
                      <a:pt x="891" y="669"/>
                    </a:cubicBezTo>
                    <a:cubicBezTo>
                      <a:pt x="888" y="651"/>
                      <a:pt x="882" y="648"/>
                      <a:pt x="876" y="639"/>
                    </a:cubicBezTo>
                    <a:cubicBezTo>
                      <a:pt x="873" y="630"/>
                      <a:pt x="867" y="621"/>
                      <a:pt x="864" y="609"/>
                    </a:cubicBezTo>
                    <a:cubicBezTo>
                      <a:pt x="852" y="600"/>
                      <a:pt x="855" y="603"/>
                      <a:pt x="846" y="603"/>
                    </a:cubicBezTo>
                    <a:cubicBezTo>
                      <a:pt x="837" y="609"/>
                      <a:pt x="828" y="615"/>
                      <a:pt x="819" y="621"/>
                    </a:cubicBezTo>
                    <a:cubicBezTo>
                      <a:pt x="816" y="627"/>
                      <a:pt x="816" y="639"/>
                      <a:pt x="819" y="651"/>
                    </a:cubicBezTo>
                    <a:cubicBezTo>
                      <a:pt x="810" y="654"/>
                      <a:pt x="798" y="654"/>
                      <a:pt x="789" y="654"/>
                    </a:cubicBezTo>
                    <a:cubicBezTo>
                      <a:pt x="777" y="660"/>
                      <a:pt x="768" y="666"/>
                      <a:pt x="759" y="672"/>
                    </a:cubicBezTo>
                    <a:cubicBezTo>
                      <a:pt x="756" y="678"/>
                      <a:pt x="756" y="684"/>
                      <a:pt x="750" y="684"/>
                    </a:cubicBezTo>
                    <a:cubicBezTo>
                      <a:pt x="741" y="678"/>
                      <a:pt x="738" y="675"/>
                      <a:pt x="738" y="672"/>
                    </a:cubicBezTo>
                    <a:cubicBezTo>
                      <a:pt x="741" y="669"/>
                      <a:pt x="741" y="669"/>
                      <a:pt x="744" y="666"/>
                    </a:cubicBezTo>
                    <a:cubicBezTo>
                      <a:pt x="744" y="651"/>
                      <a:pt x="732" y="642"/>
                      <a:pt x="723" y="642"/>
                    </a:cubicBezTo>
                    <a:cubicBezTo>
                      <a:pt x="708" y="648"/>
                      <a:pt x="708" y="657"/>
                      <a:pt x="711" y="675"/>
                    </a:cubicBezTo>
                    <a:cubicBezTo>
                      <a:pt x="708" y="675"/>
                      <a:pt x="705" y="675"/>
                      <a:pt x="702" y="678"/>
                    </a:cubicBezTo>
                    <a:cubicBezTo>
                      <a:pt x="699" y="678"/>
                      <a:pt x="699" y="681"/>
                      <a:pt x="699" y="684"/>
                    </a:cubicBezTo>
                    <a:cubicBezTo>
                      <a:pt x="696" y="684"/>
                      <a:pt x="696" y="684"/>
                      <a:pt x="693" y="687"/>
                    </a:cubicBezTo>
                    <a:cubicBezTo>
                      <a:pt x="693" y="696"/>
                      <a:pt x="693" y="705"/>
                      <a:pt x="693" y="714"/>
                    </a:cubicBezTo>
                    <a:cubicBezTo>
                      <a:pt x="696" y="717"/>
                      <a:pt x="699" y="723"/>
                      <a:pt x="702" y="726"/>
                    </a:cubicBezTo>
                    <a:cubicBezTo>
                      <a:pt x="702" y="728"/>
                      <a:pt x="702" y="731"/>
                      <a:pt x="705" y="734"/>
                    </a:cubicBezTo>
                    <a:cubicBezTo>
                      <a:pt x="702" y="737"/>
                      <a:pt x="699" y="740"/>
                      <a:pt x="699" y="743"/>
                    </a:cubicBezTo>
                    <a:cubicBezTo>
                      <a:pt x="684" y="755"/>
                      <a:pt x="669" y="758"/>
                      <a:pt x="654" y="755"/>
                    </a:cubicBezTo>
                    <a:cubicBezTo>
                      <a:pt x="643" y="755"/>
                      <a:pt x="640" y="761"/>
                      <a:pt x="634" y="764"/>
                    </a:cubicBezTo>
                    <a:cubicBezTo>
                      <a:pt x="631" y="767"/>
                      <a:pt x="628" y="770"/>
                      <a:pt x="625" y="773"/>
                    </a:cubicBezTo>
                    <a:cubicBezTo>
                      <a:pt x="619" y="785"/>
                      <a:pt x="607" y="800"/>
                      <a:pt x="595" y="812"/>
                    </a:cubicBezTo>
                    <a:cubicBezTo>
                      <a:pt x="589" y="809"/>
                      <a:pt x="586" y="806"/>
                      <a:pt x="583" y="803"/>
                    </a:cubicBezTo>
                    <a:cubicBezTo>
                      <a:pt x="577" y="803"/>
                      <a:pt x="571" y="803"/>
                      <a:pt x="568" y="803"/>
                    </a:cubicBezTo>
                    <a:cubicBezTo>
                      <a:pt x="568" y="809"/>
                      <a:pt x="565" y="815"/>
                      <a:pt x="562" y="815"/>
                    </a:cubicBezTo>
                    <a:cubicBezTo>
                      <a:pt x="556" y="806"/>
                      <a:pt x="550" y="809"/>
                      <a:pt x="544" y="809"/>
                    </a:cubicBezTo>
                    <a:cubicBezTo>
                      <a:pt x="541" y="815"/>
                      <a:pt x="538" y="824"/>
                      <a:pt x="532" y="827"/>
                    </a:cubicBezTo>
                    <a:cubicBezTo>
                      <a:pt x="517" y="833"/>
                      <a:pt x="511" y="857"/>
                      <a:pt x="496" y="866"/>
                    </a:cubicBezTo>
                    <a:cubicBezTo>
                      <a:pt x="490" y="875"/>
                      <a:pt x="493" y="881"/>
                      <a:pt x="493" y="893"/>
                    </a:cubicBezTo>
                    <a:cubicBezTo>
                      <a:pt x="493" y="899"/>
                      <a:pt x="490" y="911"/>
                      <a:pt x="490" y="917"/>
                    </a:cubicBezTo>
                    <a:cubicBezTo>
                      <a:pt x="487" y="917"/>
                      <a:pt x="487" y="917"/>
                      <a:pt x="487" y="917"/>
                    </a:cubicBezTo>
                    <a:cubicBezTo>
                      <a:pt x="466" y="917"/>
                      <a:pt x="448" y="914"/>
                      <a:pt x="433" y="911"/>
                    </a:cubicBezTo>
                    <a:cubicBezTo>
                      <a:pt x="427" y="908"/>
                      <a:pt x="421" y="905"/>
                      <a:pt x="418" y="902"/>
                    </a:cubicBezTo>
                    <a:cubicBezTo>
                      <a:pt x="415" y="899"/>
                      <a:pt x="412" y="896"/>
                      <a:pt x="409" y="893"/>
                    </a:cubicBezTo>
                    <a:cubicBezTo>
                      <a:pt x="403" y="893"/>
                      <a:pt x="397" y="890"/>
                      <a:pt x="391" y="890"/>
                    </a:cubicBezTo>
                    <a:cubicBezTo>
                      <a:pt x="391" y="884"/>
                      <a:pt x="391" y="878"/>
                      <a:pt x="391" y="875"/>
                    </a:cubicBezTo>
                    <a:cubicBezTo>
                      <a:pt x="397" y="863"/>
                      <a:pt x="406" y="851"/>
                      <a:pt x="406" y="836"/>
                    </a:cubicBezTo>
                    <a:cubicBezTo>
                      <a:pt x="403" y="821"/>
                      <a:pt x="391" y="824"/>
                      <a:pt x="385" y="824"/>
                    </a:cubicBezTo>
                    <a:cubicBezTo>
                      <a:pt x="382" y="827"/>
                      <a:pt x="379" y="827"/>
                      <a:pt x="376" y="830"/>
                    </a:cubicBezTo>
                    <a:cubicBezTo>
                      <a:pt x="359" y="830"/>
                      <a:pt x="367" y="830"/>
                      <a:pt x="364" y="848"/>
                    </a:cubicBezTo>
                    <a:cubicBezTo>
                      <a:pt x="359" y="851"/>
                      <a:pt x="359" y="854"/>
                      <a:pt x="359" y="857"/>
                    </a:cubicBezTo>
                    <a:cubicBezTo>
                      <a:pt x="356" y="863"/>
                      <a:pt x="353" y="869"/>
                      <a:pt x="350" y="875"/>
                    </a:cubicBezTo>
                    <a:cubicBezTo>
                      <a:pt x="350" y="881"/>
                      <a:pt x="350" y="890"/>
                      <a:pt x="350" y="896"/>
                    </a:cubicBezTo>
                    <a:cubicBezTo>
                      <a:pt x="347" y="899"/>
                      <a:pt x="344" y="902"/>
                      <a:pt x="344" y="905"/>
                    </a:cubicBezTo>
                    <a:cubicBezTo>
                      <a:pt x="329" y="905"/>
                      <a:pt x="329" y="908"/>
                      <a:pt x="323" y="914"/>
                    </a:cubicBezTo>
                    <a:cubicBezTo>
                      <a:pt x="311" y="914"/>
                      <a:pt x="302" y="917"/>
                      <a:pt x="293" y="920"/>
                    </a:cubicBezTo>
                    <a:cubicBezTo>
                      <a:pt x="287" y="923"/>
                      <a:pt x="284" y="929"/>
                      <a:pt x="278" y="93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35" name="Freeform 15"/>
              <p:cNvSpPr>
                <a:spLocks/>
              </p:cNvSpPr>
              <p:nvPr/>
            </p:nvSpPr>
            <p:spPr bwMode="auto">
              <a:xfrm>
                <a:off x="6834702" y="2331933"/>
                <a:ext cx="634483" cy="848650"/>
              </a:xfrm>
              <a:custGeom>
                <a:avLst/>
                <a:gdLst>
                  <a:gd name="T0" fmla="*/ 620601374 w 266"/>
                  <a:gd name="T1" fmla="*/ 2147483647 h 392"/>
                  <a:gd name="T2" fmla="*/ 144807428 w 266"/>
                  <a:gd name="T3" fmla="*/ 2147483647 h 392"/>
                  <a:gd name="T4" fmla="*/ 165494572 w 266"/>
                  <a:gd name="T5" fmla="*/ 2147483647 h 392"/>
                  <a:gd name="T6" fmla="*/ 20687150 w 266"/>
                  <a:gd name="T7" fmla="*/ 1816773680 h 392"/>
                  <a:gd name="T8" fmla="*/ 268927711 w 266"/>
                  <a:gd name="T9" fmla="*/ 1485194514 h 392"/>
                  <a:gd name="T10" fmla="*/ 82745973 w 266"/>
                  <a:gd name="T11" fmla="*/ 1153617648 h 392"/>
                  <a:gd name="T12" fmla="*/ 62058829 w 266"/>
                  <a:gd name="T13" fmla="*/ 1153617648 h 392"/>
                  <a:gd name="T14" fmla="*/ 165494572 w 266"/>
                  <a:gd name="T15" fmla="*/ 1008552092 h 392"/>
                  <a:gd name="T16" fmla="*/ 82745973 w 266"/>
                  <a:gd name="T17" fmla="*/ 870393668 h 392"/>
                  <a:gd name="T18" fmla="*/ 0 w 266"/>
                  <a:gd name="T19" fmla="*/ 621710443 h 392"/>
                  <a:gd name="T20" fmla="*/ 103433138 w 266"/>
                  <a:gd name="T21" fmla="*/ 538814338 h 392"/>
                  <a:gd name="T22" fmla="*/ 186179132 w 266"/>
                  <a:gd name="T23" fmla="*/ 331579248 h 392"/>
                  <a:gd name="T24" fmla="*/ 330986519 w 266"/>
                  <a:gd name="T25" fmla="*/ 621710443 h 392"/>
                  <a:gd name="T26" fmla="*/ 413732553 w 266"/>
                  <a:gd name="T27" fmla="*/ 600986417 h 392"/>
                  <a:gd name="T28" fmla="*/ 868839396 w 266"/>
                  <a:gd name="T29" fmla="*/ 373024755 h 392"/>
                  <a:gd name="T30" fmla="*/ 992959638 w 266"/>
                  <a:gd name="T31" fmla="*/ 82893498 h 392"/>
                  <a:gd name="T32" fmla="*/ 1261887266 w 266"/>
                  <a:gd name="T33" fmla="*/ 414472807 h 392"/>
                  <a:gd name="T34" fmla="*/ 1572186886 w 266"/>
                  <a:gd name="T35" fmla="*/ 538814338 h 392"/>
                  <a:gd name="T36" fmla="*/ 1551499741 w 266"/>
                  <a:gd name="T37" fmla="*/ 787500190 h 392"/>
                  <a:gd name="T38" fmla="*/ 1834218800 w 266"/>
                  <a:gd name="T39" fmla="*/ 967104039 h 392"/>
                  <a:gd name="T40" fmla="*/ 1489440933 w 266"/>
                  <a:gd name="T41" fmla="*/ 1360852656 h 392"/>
                  <a:gd name="T42" fmla="*/ 1199825832 w 266"/>
                  <a:gd name="T43" fmla="*/ 1215787099 h 392"/>
                  <a:gd name="T44" fmla="*/ 1055021072 w 266"/>
                  <a:gd name="T45" fmla="*/ 987828065 h 392"/>
                  <a:gd name="T46" fmla="*/ 889526540 w 266"/>
                  <a:gd name="T47" fmla="*/ 683879894 h 392"/>
                  <a:gd name="T48" fmla="*/ 599914229 w 266"/>
                  <a:gd name="T49" fmla="*/ 884210561 h 392"/>
                  <a:gd name="T50" fmla="*/ 475793987 w 266"/>
                  <a:gd name="T51" fmla="*/ 1132893622 h 392"/>
                  <a:gd name="T52" fmla="*/ 703347490 w 266"/>
                  <a:gd name="T53" fmla="*/ 1298683205 h 392"/>
                  <a:gd name="T54" fmla="*/ 930900830 w 266"/>
                  <a:gd name="T55" fmla="*/ 1298683205 h 392"/>
                  <a:gd name="T56" fmla="*/ 992959638 w 266"/>
                  <a:gd name="T57" fmla="*/ 1505918541 h 392"/>
                  <a:gd name="T58" fmla="*/ 1282574411 w 266"/>
                  <a:gd name="T59" fmla="*/ 1775328256 h 392"/>
                  <a:gd name="T60" fmla="*/ 951587974 w 266"/>
                  <a:gd name="T61" fmla="*/ 2024011316 h 392"/>
                  <a:gd name="T62" fmla="*/ 641285892 w 266"/>
                  <a:gd name="T63" fmla="*/ 2147483647 h 39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66"/>
                  <a:gd name="T97" fmla="*/ 0 h 392"/>
                  <a:gd name="T98" fmla="*/ 266 w 266"/>
                  <a:gd name="T99" fmla="*/ 392 h 39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66" h="392">
                    <a:moveTo>
                      <a:pt x="96" y="392"/>
                    </a:moveTo>
                    <a:cubicBezTo>
                      <a:pt x="93" y="389"/>
                      <a:pt x="90" y="386"/>
                      <a:pt x="90" y="383"/>
                    </a:cubicBezTo>
                    <a:cubicBezTo>
                      <a:pt x="78" y="383"/>
                      <a:pt x="66" y="383"/>
                      <a:pt x="54" y="386"/>
                    </a:cubicBezTo>
                    <a:cubicBezTo>
                      <a:pt x="42" y="383"/>
                      <a:pt x="30" y="380"/>
                      <a:pt x="21" y="377"/>
                    </a:cubicBezTo>
                    <a:cubicBezTo>
                      <a:pt x="12" y="371"/>
                      <a:pt x="6" y="362"/>
                      <a:pt x="6" y="362"/>
                    </a:cubicBezTo>
                    <a:cubicBezTo>
                      <a:pt x="12" y="353"/>
                      <a:pt x="18" y="347"/>
                      <a:pt x="24" y="341"/>
                    </a:cubicBezTo>
                    <a:cubicBezTo>
                      <a:pt x="27" y="335"/>
                      <a:pt x="27" y="329"/>
                      <a:pt x="30" y="323"/>
                    </a:cubicBezTo>
                    <a:cubicBezTo>
                      <a:pt x="36" y="290"/>
                      <a:pt x="18" y="278"/>
                      <a:pt x="3" y="263"/>
                    </a:cubicBezTo>
                    <a:cubicBezTo>
                      <a:pt x="3" y="242"/>
                      <a:pt x="15" y="236"/>
                      <a:pt x="30" y="227"/>
                    </a:cubicBezTo>
                    <a:cubicBezTo>
                      <a:pt x="33" y="221"/>
                      <a:pt x="36" y="218"/>
                      <a:pt x="39" y="215"/>
                    </a:cubicBezTo>
                    <a:cubicBezTo>
                      <a:pt x="39" y="209"/>
                      <a:pt x="39" y="203"/>
                      <a:pt x="39" y="200"/>
                    </a:cubicBezTo>
                    <a:cubicBezTo>
                      <a:pt x="30" y="185"/>
                      <a:pt x="21" y="176"/>
                      <a:pt x="12" y="167"/>
                    </a:cubicBezTo>
                    <a:cubicBezTo>
                      <a:pt x="9" y="167"/>
                      <a:pt x="9" y="167"/>
                      <a:pt x="9" y="167"/>
                    </a:cubicBezTo>
                    <a:cubicBezTo>
                      <a:pt x="9" y="167"/>
                      <a:pt x="9" y="167"/>
                      <a:pt x="9" y="167"/>
                    </a:cubicBezTo>
                    <a:cubicBezTo>
                      <a:pt x="12" y="164"/>
                      <a:pt x="15" y="161"/>
                      <a:pt x="18" y="158"/>
                    </a:cubicBezTo>
                    <a:cubicBezTo>
                      <a:pt x="21" y="155"/>
                      <a:pt x="24" y="149"/>
                      <a:pt x="24" y="146"/>
                    </a:cubicBezTo>
                    <a:cubicBezTo>
                      <a:pt x="18" y="143"/>
                      <a:pt x="15" y="140"/>
                      <a:pt x="12" y="137"/>
                    </a:cubicBezTo>
                    <a:cubicBezTo>
                      <a:pt x="12" y="131"/>
                      <a:pt x="12" y="128"/>
                      <a:pt x="12" y="126"/>
                    </a:cubicBezTo>
                    <a:cubicBezTo>
                      <a:pt x="6" y="120"/>
                      <a:pt x="3" y="117"/>
                      <a:pt x="0" y="114"/>
                    </a:cubicBezTo>
                    <a:cubicBezTo>
                      <a:pt x="0" y="105"/>
                      <a:pt x="0" y="99"/>
                      <a:pt x="0" y="90"/>
                    </a:cubicBezTo>
                    <a:cubicBezTo>
                      <a:pt x="3" y="87"/>
                      <a:pt x="3" y="84"/>
                      <a:pt x="6" y="81"/>
                    </a:cubicBezTo>
                    <a:cubicBezTo>
                      <a:pt x="6" y="81"/>
                      <a:pt x="15" y="81"/>
                      <a:pt x="15" y="78"/>
                    </a:cubicBezTo>
                    <a:cubicBezTo>
                      <a:pt x="15" y="69"/>
                      <a:pt x="15" y="63"/>
                      <a:pt x="15" y="54"/>
                    </a:cubicBezTo>
                    <a:cubicBezTo>
                      <a:pt x="21" y="51"/>
                      <a:pt x="21" y="48"/>
                      <a:pt x="27" y="48"/>
                    </a:cubicBezTo>
                    <a:cubicBezTo>
                      <a:pt x="30" y="51"/>
                      <a:pt x="39" y="54"/>
                      <a:pt x="39" y="63"/>
                    </a:cubicBezTo>
                    <a:cubicBezTo>
                      <a:pt x="27" y="72"/>
                      <a:pt x="36" y="81"/>
                      <a:pt x="48" y="90"/>
                    </a:cubicBezTo>
                    <a:cubicBezTo>
                      <a:pt x="51" y="90"/>
                      <a:pt x="51" y="90"/>
                      <a:pt x="54" y="90"/>
                    </a:cubicBezTo>
                    <a:cubicBezTo>
                      <a:pt x="57" y="90"/>
                      <a:pt x="57" y="87"/>
                      <a:pt x="60" y="87"/>
                    </a:cubicBezTo>
                    <a:cubicBezTo>
                      <a:pt x="60" y="75"/>
                      <a:pt x="72" y="75"/>
                      <a:pt x="81" y="69"/>
                    </a:cubicBezTo>
                    <a:cubicBezTo>
                      <a:pt x="90" y="54"/>
                      <a:pt x="111" y="63"/>
                      <a:pt x="126" y="54"/>
                    </a:cubicBezTo>
                    <a:cubicBezTo>
                      <a:pt x="123" y="45"/>
                      <a:pt x="123" y="36"/>
                      <a:pt x="123" y="27"/>
                    </a:cubicBezTo>
                    <a:cubicBezTo>
                      <a:pt x="129" y="21"/>
                      <a:pt x="132" y="18"/>
                      <a:pt x="144" y="12"/>
                    </a:cubicBezTo>
                    <a:cubicBezTo>
                      <a:pt x="156" y="0"/>
                      <a:pt x="159" y="12"/>
                      <a:pt x="165" y="27"/>
                    </a:cubicBezTo>
                    <a:cubicBezTo>
                      <a:pt x="171" y="39"/>
                      <a:pt x="177" y="48"/>
                      <a:pt x="183" y="60"/>
                    </a:cubicBezTo>
                    <a:cubicBezTo>
                      <a:pt x="186" y="69"/>
                      <a:pt x="183" y="72"/>
                      <a:pt x="198" y="78"/>
                    </a:cubicBezTo>
                    <a:cubicBezTo>
                      <a:pt x="204" y="78"/>
                      <a:pt x="216" y="78"/>
                      <a:pt x="228" y="78"/>
                    </a:cubicBezTo>
                    <a:cubicBezTo>
                      <a:pt x="225" y="84"/>
                      <a:pt x="216" y="84"/>
                      <a:pt x="213" y="93"/>
                    </a:cubicBezTo>
                    <a:cubicBezTo>
                      <a:pt x="213" y="99"/>
                      <a:pt x="210" y="105"/>
                      <a:pt x="225" y="114"/>
                    </a:cubicBezTo>
                    <a:cubicBezTo>
                      <a:pt x="234" y="114"/>
                      <a:pt x="245" y="126"/>
                      <a:pt x="257" y="134"/>
                    </a:cubicBezTo>
                    <a:cubicBezTo>
                      <a:pt x="260" y="134"/>
                      <a:pt x="263" y="137"/>
                      <a:pt x="266" y="140"/>
                    </a:cubicBezTo>
                    <a:cubicBezTo>
                      <a:pt x="257" y="149"/>
                      <a:pt x="251" y="161"/>
                      <a:pt x="242" y="173"/>
                    </a:cubicBezTo>
                    <a:cubicBezTo>
                      <a:pt x="242" y="182"/>
                      <a:pt x="225" y="194"/>
                      <a:pt x="216" y="197"/>
                    </a:cubicBezTo>
                    <a:cubicBezTo>
                      <a:pt x="210" y="197"/>
                      <a:pt x="204" y="197"/>
                      <a:pt x="198" y="200"/>
                    </a:cubicBezTo>
                    <a:cubicBezTo>
                      <a:pt x="186" y="191"/>
                      <a:pt x="180" y="182"/>
                      <a:pt x="174" y="176"/>
                    </a:cubicBezTo>
                    <a:cubicBezTo>
                      <a:pt x="171" y="167"/>
                      <a:pt x="174" y="155"/>
                      <a:pt x="171" y="149"/>
                    </a:cubicBezTo>
                    <a:cubicBezTo>
                      <a:pt x="165" y="146"/>
                      <a:pt x="159" y="146"/>
                      <a:pt x="153" y="143"/>
                    </a:cubicBezTo>
                    <a:cubicBezTo>
                      <a:pt x="153" y="131"/>
                      <a:pt x="156" y="117"/>
                      <a:pt x="156" y="108"/>
                    </a:cubicBezTo>
                    <a:cubicBezTo>
                      <a:pt x="144" y="108"/>
                      <a:pt x="132" y="108"/>
                      <a:pt x="129" y="99"/>
                    </a:cubicBezTo>
                    <a:cubicBezTo>
                      <a:pt x="111" y="99"/>
                      <a:pt x="111" y="99"/>
                      <a:pt x="108" y="114"/>
                    </a:cubicBezTo>
                    <a:cubicBezTo>
                      <a:pt x="99" y="120"/>
                      <a:pt x="93" y="126"/>
                      <a:pt x="87" y="128"/>
                    </a:cubicBezTo>
                    <a:cubicBezTo>
                      <a:pt x="87" y="134"/>
                      <a:pt x="87" y="137"/>
                      <a:pt x="90" y="146"/>
                    </a:cubicBezTo>
                    <a:cubicBezTo>
                      <a:pt x="90" y="161"/>
                      <a:pt x="75" y="158"/>
                      <a:pt x="69" y="164"/>
                    </a:cubicBezTo>
                    <a:cubicBezTo>
                      <a:pt x="69" y="170"/>
                      <a:pt x="66" y="182"/>
                      <a:pt x="69" y="188"/>
                    </a:cubicBezTo>
                    <a:cubicBezTo>
                      <a:pt x="81" y="188"/>
                      <a:pt x="90" y="188"/>
                      <a:pt x="102" y="188"/>
                    </a:cubicBezTo>
                    <a:cubicBezTo>
                      <a:pt x="108" y="182"/>
                      <a:pt x="111" y="176"/>
                      <a:pt x="126" y="179"/>
                    </a:cubicBezTo>
                    <a:cubicBezTo>
                      <a:pt x="129" y="182"/>
                      <a:pt x="132" y="182"/>
                      <a:pt x="135" y="188"/>
                    </a:cubicBezTo>
                    <a:cubicBezTo>
                      <a:pt x="138" y="191"/>
                      <a:pt x="138" y="194"/>
                      <a:pt x="141" y="197"/>
                    </a:cubicBezTo>
                    <a:cubicBezTo>
                      <a:pt x="141" y="203"/>
                      <a:pt x="144" y="212"/>
                      <a:pt x="144" y="218"/>
                    </a:cubicBezTo>
                    <a:cubicBezTo>
                      <a:pt x="150" y="227"/>
                      <a:pt x="159" y="236"/>
                      <a:pt x="174" y="242"/>
                    </a:cubicBezTo>
                    <a:cubicBezTo>
                      <a:pt x="180" y="248"/>
                      <a:pt x="183" y="251"/>
                      <a:pt x="186" y="257"/>
                    </a:cubicBezTo>
                    <a:cubicBezTo>
                      <a:pt x="177" y="257"/>
                      <a:pt x="174" y="266"/>
                      <a:pt x="168" y="269"/>
                    </a:cubicBezTo>
                    <a:cubicBezTo>
                      <a:pt x="165" y="281"/>
                      <a:pt x="147" y="290"/>
                      <a:pt x="138" y="293"/>
                    </a:cubicBezTo>
                    <a:cubicBezTo>
                      <a:pt x="129" y="299"/>
                      <a:pt x="123" y="308"/>
                      <a:pt x="117" y="317"/>
                    </a:cubicBezTo>
                    <a:cubicBezTo>
                      <a:pt x="93" y="341"/>
                      <a:pt x="78" y="347"/>
                      <a:pt x="93" y="386"/>
                    </a:cubicBezTo>
                    <a:cubicBezTo>
                      <a:pt x="93" y="386"/>
                      <a:pt x="96" y="389"/>
                      <a:pt x="96" y="39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36" name="Freeform 16"/>
              <p:cNvSpPr>
                <a:spLocks/>
              </p:cNvSpPr>
              <p:nvPr/>
            </p:nvSpPr>
            <p:spPr bwMode="auto">
              <a:xfrm>
                <a:off x="6507368" y="2635298"/>
                <a:ext cx="406647" cy="740116"/>
              </a:xfrm>
              <a:custGeom>
                <a:avLst/>
                <a:gdLst>
                  <a:gd name="T0" fmla="*/ 124824953 w 170"/>
                  <a:gd name="T1" fmla="*/ 2147483647 h 342"/>
                  <a:gd name="T2" fmla="*/ 41607437 w 170"/>
                  <a:gd name="T3" fmla="*/ 2147483647 h 342"/>
                  <a:gd name="T4" fmla="*/ 83217506 w 170"/>
                  <a:gd name="T5" fmla="*/ 2050050394 h 342"/>
                  <a:gd name="T6" fmla="*/ 62411160 w 170"/>
                  <a:gd name="T7" fmla="*/ 1925804398 h 342"/>
                  <a:gd name="T8" fmla="*/ 0 w 170"/>
                  <a:gd name="T9" fmla="*/ 1780852926 h 342"/>
                  <a:gd name="T10" fmla="*/ 0 w 170"/>
                  <a:gd name="T11" fmla="*/ 1532360934 h 342"/>
                  <a:gd name="T12" fmla="*/ 104021240 w 170"/>
                  <a:gd name="T13" fmla="*/ 1325284821 h 342"/>
                  <a:gd name="T14" fmla="*/ 124824953 w 170"/>
                  <a:gd name="T15" fmla="*/ 1242455033 h 342"/>
                  <a:gd name="T16" fmla="*/ 166432379 w 170"/>
                  <a:gd name="T17" fmla="*/ 869717045 h 342"/>
                  <a:gd name="T18" fmla="*/ 187236134 w 170"/>
                  <a:gd name="T19" fmla="*/ 662643724 h 342"/>
                  <a:gd name="T20" fmla="*/ 228846193 w 170"/>
                  <a:gd name="T21" fmla="*/ 579811309 h 342"/>
                  <a:gd name="T22" fmla="*/ 395278614 w 170"/>
                  <a:gd name="T23" fmla="*/ 393443629 h 342"/>
                  <a:gd name="T24" fmla="*/ 540907239 w 170"/>
                  <a:gd name="T25" fmla="*/ 207075866 h 342"/>
                  <a:gd name="T26" fmla="*/ 603318379 w 170"/>
                  <a:gd name="T27" fmla="*/ 144954141 h 342"/>
                  <a:gd name="T28" fmla="*/ 825228328 w 170"/>
                  <a:gd name="T29" fmla="*/ 124246037 h 342"/>
                  <a:gd name="T30" fmla="*/ 970859586 w 170"/>
                  <a:gd name="T31" fmla="*/ 41416218 h 342"/>
                  <a:gd name="T32" fmla="*/ 1012467012 w 170"/>
                  <a:gd name="T33" fmla="*/ 0 h 342"/>
                  <a:gd name="T34" fmla="*/ 1074878152 w 170"/>
                  <a:gd name="T35" fmla="*/ 41416218 h 342"/>
                  <a:gd name="T36" fmla="*/ 970859586 w 170"/>
                  <a:gd name="T37" fmla="*/ 207075866 h 342"/>
                  <a:gd name="T38" fmla="*/ 1178899351 w 170"/>
                  <a:gd name="T39" fmla="*/ 434859836 h 342"/>
                  <a:gd name="T40" fmla="*/ 1178899351 w 170"/>
                  <a:gd name="T41" fmla="*/ 496981521 h 342"/>
                  <a:gd name="T42" fmla="*/ 1012467012 w 170"/>
                  <a:gd name="T43" fmla="*/ 641935620 h 342"/>
                  <a:gd name="T44" fmla="*/ 950053240 w 170"/>
                  <a:gd name="T45" fmla="*/ 890425149 h 342"/>
                  <a:gd name="T46" fmla="*/ 1033270726 w 170"/>
                  <a:gd name="T47" fmla="*/ 952549461 h 342"/>
                  <a:gd name="T48" fmla="*/ 1137291925 w 170"/>
                  <a:gd name="T49" fmla="*/ 1201038825 h 342"/>
                  <a:gd name="T50" fmla="*/ 1095681865 w 170"/>
                  <a:gd name="T51" fmla="*/ 1325284821 h 342"/>
                  <a:gd name="T52" fmla="*/ 950053240 w 170"/>
                  <a:gd name="T53" fmla="*/ 1511652830 h 342"/>
                  <a:gd name="T54" fmla="*/ 950053240 w 170"/>
                  <a:gd name="T55" fmla="*/ 1553069038 h 342"/>
                  <a:gd name="T56" fmla="*/ 1033270726 w 170"/>
                  <a:gd name="T57" fmla="*/ 1635898826 h 342"/>
                  <a:gd name="T58" fmla="*/ 1033270726 w 170"/>
                  <a:gd name="T59" fmla="*/ 1884390818 h 342"/>
                  <a:gd name="T60" fmla="*/ 825228328 w 170"/>
                  <a:gd name="T61" fmla="*/ 2091466602 h 342"/>
                  <a:gd name="T62" fmla="*/ 582514665 w 170"/>
                  <a:gd name="T63" fmla="*/ 2132880182 h 342"/>
                  <a:gd name="T64" fmla="*/ 332864759 w 170"/>
                  <a:gd name="T65" fmla="*/ 2147483647 h 342"/>
                  <a:gd name="T66" fmla="*/ 228846193 w 170"/>
                  <a:gd name="T67" fmla="*/ 2147483647 h 342"/>
                  <a:gd name="T68" fmla="*/ 124824953 w 170"/>
                  <a:gd name="T69" fmla="*/ 2147483647 h 34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70"/>
                  <a:gd name="T106" fmla="*/ 0 h 342"/>
                  <a:gd name="T107" fmla="*/ 170 w 170"/>
                  <a:gd name="T108" fmla="*/ 342 h 34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70" h="342">
                    <a:moveTo>
                      <a:pt x="18" y="342"/>
                    </a:moveTo>
                    <a:cubicBezTo>
                      <a:pt x="3" y="333"/>
                      <a:pt x="6" y="321"/>
                      <a:pt x="6" y="312"/>
                    </a:cubicBezTo>
                    <a:cubicBezTo>
                      <a:pt x="9" y="306"/>
                      <a:pt x="9" y="303"/>
                      <a:pt x="12" y="297"/>
                    </a:cubicBezTo>
                    <a:cubicBezTo>
                      <a:pt x="9" y="291"/>
                      <a:pt x="9" y="285"/>
                      <a:pt x="9" y="279"/>
                    </a:cubicBezTo>
                    <a:cubicBezTo>
                      <a:pt x="6" y="273"/>
                      <a:pt x="3" y="264"/>
                      <a:pt x="0" y="258"/>
                    </a:cubicBezTo>
                    <a:cubicBezTo>
                      <a:pt x="0" y="246"/>
                      <a:pt x="0" y="234"/>
                      <a:pt x="0" y="222"/>
                    </a:cubicBezTo>
                    <a:cubicBezTo>
                      <a:pt x="9" y="210"/>
                      <a:pt x="12" y="201"/>
                      <a:pt x="15" y="192"/>
                    </a:cubicBezTo>
                    <a:cubicBezTo>
                      <a:pt x="15" y="189"/>
                      <a:pt x="15" y="183"/>
                      <a:pt x="18" y="180"/>
                    </a:cubicBezTo>
                    <a:cubicBezTo>
                      <a:pt x="12" y="156"/>
                      <a:pt x="3" y="138"/>
                      <a:pt x="24" y="126"/>
                    </a:cubicBezTo>
                    <a:cubicBezTo>
                      <a:pt x="27" y="111"/>
                      <a:pt x="27" y="105"/>
                      <a:pt x="27" y="96"/>
                    </a:cubicBezTo>
                    <a:cubicBezTo>
                      <a:pt x="30" y="93"/>
                      <a:pt x="30" y="90"/>
                      <a:pt x="33" y="84"/>
                    </a:cubicBezTo>
                    <a:cubicBezTo>
                      <a:pt x="36" y="69"/>
                      <a:pt x="45" y="63"/>
                      <a:pt x="57" y="57"/>
                    </a:cubicBezTo>
                    <a:cubicBezTo>
                      <a:pt x="63" y="48"/>
                      <a:pt x="69" y="33"/>
                      <a:pt x="78" y="30"/>
                    </a:cubicBezTo>
                    <a:cubicBezTo>
                      <a:pt x="81" y="27"/>
                      <a:pt x="84" y="24"/>
                      <a:pt x="87" y="21"/>
                    </a:cubicBezTo>
                    <a:cubicBezTo>
                      <a:pt x="92" y="21"/>
                      <a:pt x="113" y="24"/>
                      <a:pt x="119" y="18"/>
                    </a:cubicBezTo>
                    <a:cubicBezTo>
                      <a:pt x="125" y="15"/>
                      <a:pt x="134" y="12"/>
                      <a:pt x="140" y="6"/>
                    </a:cubicBezTo>
                    <a:cubicBezTo>
                      <a:pt x="143" y="3"/>
                      <a:pt x="143" y="3"/>
                      <a:pt x="146" y="0"/>
                    </a:cubicBezTo>
                    <a:cubicBezTo>
                      <a:pt x="149" y="3"/>
                      <a:pt x="152" y="6"/>
                      <a:pt x="155" y="6"/>
                    </a:cubicBezTo>
                    <a:cubicBezTo>
                      <a:pt x="155" y="15"/>
                      <a:pt x="134" y="18"/>
                      <a:pt x="140" y="30"/>
                    </a:cubicBezTo>
                    <a:cubicBezTo>
                      <a:pt x="152" y="33"/>
                      <a:pt x="158" y="45"/>
                      <a:pt x="170" y="63"/>
                    </a:cubicBezTo>
                    <a:cubicBezTo>
                      <a:pt x="170" y="66"/>
                      <a:pt x="170" y="69"/>
                      <a:pt x="170" y="72"/>
                    </a:cubicBezTo>
                    <a:cubicBezTo>
                      <a:pt x="161" y="87"/>
                      <a:pt x="158" y="84"/>
                      <a:pt x="146" y="93"/>
                    </a:cubicBezTo>
                    <a:cubicBezTo>
                      <a:pt x="140" y="102"/>
                      <a:pt x="128" y="117"/>
                      <a:pt x="137" y="129"/>
                    </a:cubicBezTo>
                    <a:cubicBezTo>
                      <a:pt x="140" y="132"/>
                      <a:pt x="146" y="135"/>
                      <a:pt x="149" y="138"/>
                    </a:cubicBezTo>
                    <a:cubicBezTo>
                      <a:pt x="155" y="147"/>
                      <a:pt x="164" y="153"/>
                      <a:pt x="164" y="174"/>
                    </a:cubicBezTo>
                    <a:cubicBezTo>
                      <a:pt x="161" y="180"/>
                      <a:pt x="161" y="186"/>
                      <a:pt x="158" y="192"/>
                    </a:cubicBezTo>
                    <a:cubicBezTo>
                      <a:pt x="155" y="201"/>
                      <a:pt x="143" y="213"/>
                      <a:pt x="137" y="219"/>
                    </a:cubicBezTo>
                    <a:cubicBezTo>
                      <a:pt x="137" y="222"/>
                      <a:pt x="137" y="222"/>
                      <a:pt x="137" y="225"/>
                    </a:cubicBezTo>
                    <a:cubicBezTo>
                      <a:pt x="140" y="228"/>
                      <a:pt x="146" y="234"/>
                      <a:pt x="149" y="237"/>
                    </a:cubicBezTo>
                    <a:cubicBezTo>
                      <a:pt x="152" y="246"/>
                      <a:pt x="152" y="261"/>
                      <a:pt x="149" y="273"/>
                    </a:cubicBezTo>
                    <a:cubicBezTo>
                      <a:pt x="140" y="282"/>
                      <a:pt x="131" y="294"/>
                      <a:pt x="119" y="303"/>
                    </a:cubicBezTo>
                    <a:cubicBezTo>
                      <a:pt x="107" y="303"/>
                      <a:pt x="95" y="306"/>
                      <a:pt x="84" y="309"/>
                    </a:cubicBezTo>
                    <a:cubicBezTo>
                      <a:pt x="69" y="321"/>
                      <a:pt x="60" y="321"/>
                      <a:pt x="48" y="324"/>
                    </a:cubicBezTo>
                    <a:cubicBezTo>
                      <a:pt x="42" y="327"/>
                      <a:pt x="39" y="330"/>
                      <a:pt x="33" y="333"/>
                    </a:cubicBezTo>
                    <a:cubicBezTo>
                      <a:pt x="27" y="339"/>
                      <a:pt x="21" y="342"/>
                      <a:pt x="18" y="34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37" name="Freeform 136"/>
              <p:cNvSpPr>
                <a:spLocks/>
              </p:cNvSpPr>
              <p:nvPr/>
            </p:nvSpPr>
            <p:spPr bwMode="auto">
              <a:xfrm>
                <a:off x="7042353" y="2902056"/>
                <a:ext cx="755612" cy="460284"/>
              </a:xfrm>
              <a:custGeom>
                <a:avLst/>
                <a:gdLst>
                  <a:gd name="T0" fmla="*/ 227239372 w 317"/>
                  <a:gd name="T1" fmla="*/ 1465997607 h 213"/>
                  <a:gd name="T2" fmla="*/ 144608055 w 317"/>
                  <a:gd name="T3" fmla="*/ 1404054776 h 213"/>
                  <a:gd name="T4" fmla="*/ 0 w 317"/>
                  <a:gd name="T5" fmla="*/ 1280166162 h 213"/>
                  <a:gd name="T6" fmla="*/ 20657168 w 317"/>
                  <a:gd name="T7" fmla="*/ 1197576595 h 213"/>
                  <a:gd name="T8" fmla="*/ 123948267 w 317"/>
                  <a:gd name="T9" fmla="*/ 1094335045 h 213"/>
                  <a:gd name="T10" fmla="*/ 123948267 w 317"/>
                  <a:gd name="T11" fmla="*/ 991096119 h 213"/>
                  <a:gd name="T12" fmla="*/ 41316960 w 317"/>
                  <a:gd name="T13" fmla="*/ 702026076 h 213"/>
                  <a:gd name="T14" fmla="*/ 61974134 w 317"/>
                  <a:gd name="T15" fmla="*/ 578140250 h 213"/>
                  <a:gd name="T16" fmla="*/ 227239372 w 317"/>
                  <a:gd name="T17" fmla="*/ 392309133 h 213"/>
                  <a:gd name="T18" fmla="*/ 516455481 w 317"/>
                  <a:gd name="T19" fmla="*/ 165181798 h 213"/>
                  <a:gd name="T20" fmla="*/ 681720657 w 317"/>
                  <a:gd name="T21" fmla="*/ 0 h 213"/>
                  <a:gd name="T22" fmla="*/ 723037772 w 317"/>
                  <a:gd name="T23" fmla="*/ 123888327 h 213"/>
                  <a:gd name="T24" fmla="*/ 805669048 w 317"/>
                  <a:gd name="T25" fmla="*/ 123888327 h 213"/>
                  <a:gd name="T26" fmla="*/ 846985998 w 317"/>
                  <a:gd name="T27" fmla="*/ 41296105 h 213"/>
                  <a:gd name="T28" fmla="*/ 1012251175 w 317"/>
                  <a:gd name="T29" fmla="*/ 20646741 h 213"/>
                  <a:gd name="T30" fmla="*/ 1046682404 w 317"/>
                  <a:gd name="T31" fmla="*/ 103238967 h 213"/>
                  <a:gd name="T32" fmla="*/ 1046682404 w 317"/>
                  <a:gd name="T33" fmla="*/ 268423389 h 213"/>
                  <a:gd name="T34" fmla="*/ 1315238644 w 317"/>
                  <a:gd name="T35" fmla="*/ 371662397 h 213"/>
                  <a:gd name="T36" fmla="*/ 1439189822 w 317"/>
                  <a:gd name="T37" fmla="*/ 144535062 h 213"/>
                  <a:gd name="T38" fmla="*/ 1501163936 w 317"/>
                  <a:gd name="T39" fmla="*/ 82592211 h 213"/>
                  <a:gd name="T40" fmla="*/ 1687086275 w 317"/>
                  <a:gd name="T41" fmla="*/ 41296105 h 213"/>
                  <a:gd name="T42" fmla="*/ 1831694289 w 317"/>
                  <a:gd name="T43" fmla="*/ 103238967 h 213"/>
                  <a:gd name="T44" fmla="*/ 2147483647 w 317"/>
                  <a:gd name="T45" fmla="*/ 103238967 h 213"/>
                  <a:gd name="T46" fmla="*/ 2147483647 w 317"/>
                  <a:gd name="T47" fmla="*/ 123888327 h 213"/>
                  <a:gd name="T48" fmla="*/ 2147483647 w 317"/>
                  <a:gd name="T49" fmla="*/ 144535062 h 213"/>
                  <a:gd name="T50" fmla="*/ 2147483647 w 317"/>
                  <a:gd name="T51" fmla="*/ 247774030 h 213"/>
                  <a:gd name="T52" fmla="*/ 2038276415 w 317"/>
                  <a:gd name="T53" fmla="*/ 268423389 h 213"/>
                  <a:gd name="T54" fmla="*/ 1707746062 w 317"/>
                  <a:gd name="T55" fmla="*/ 536844155 h 213"/>
                  <a:gd name="T56" fmla="*/ 1645771949 w 317"/>
                  <a:gd name="T57" fmla="*/ 578140250 h 213"/>
                  <a:gd name="T58" fmla="*/ 1521821099 w 317"/>
                  <a:gd name="T59" fmla="*/ 640083081 h 213"/>
                  <a:gd name="T60" fmla="*/ 1501163936 w 317"/>
                  <a:gd name="T61" fmla="*/ 660732440 h 213"/>
                  <a:gd name="T62" fmla="*/ 1501163936 w 317"/>
                  <a:gd name="T63" fmla="*/ 784618266 h 213"/>
                  <a:gd name="T64" fmla="*/ 1377213085 w 317"/>
                  <a:gd name="T65" fmla="*/ 949800024 h 213"/>
                  <a:gd name="T66" fmla="*/ 1335898431 w 317"/>
                  <a:gd name="T67" fmla="*/ 1094335045 h 213"/>
                  <a:gd name="T68" fmla="*/ 1170633254 w 317"/>
                  <a:gd name="T69" fmla="*/ 1197576595 h 213"/>
                  <a:gd name="T70" fmla="*/ 1067342191 w 317"/>
                  <a:gd name="T71" fmla="*/ 1383405416 h 213"/>
                  <a:gd name="T72" fmla="*/ 1067342191 w 317"/>
                  <a:gd name="T73" fmla="*/ 1362758352 h 213"/>
                  <a:gd name="T74" fmla="*/ 1032910962 w 317"/>
                  <a:gd name="T75" fmla="*/ 1342108993 h 213"/>
                  <a:gd name="T76" fmla="*/ 991594012 w 317"/>
                  <a:gd name="T77" fmla="*/ 1342108993 h 213"/>
                  <a:gd name="T78" fmla="*/ 888302948 w 317"/>
                  <a:gd name="T79" fmla="*/ 1424701511 h 213"/>
                  <a:gd name="T80" fmla="*/ 723037772 w 317"/>
                  <a:gd name="T81" fmla="*/ 1424701511 h 213"/>
                  <a:gd name="T82" fmla="*/ 723037772 w 317"/>
                  <a:gd name="T83" fmla="*/ 1383405416 h 213"/>
                  <a:gd name="T84" fmla="*/ 578429594 w 317"/>
                  <a:gd name="T85" fmla="*/ 1238870067 h 213"/>
                  <a:gd name="T86" fmla="*/ 495798318 w 317"/>
                  <a:gd name="T87" fmla="*/ 1238870067 h 213"/>
                  <a:gd name="T88" fmla="*/ 454481368 w 317"/>
                  <a:gd name="T89" fmla="*/ 1383405416 h 213"/>
                  <a:gd name="T90" fmla="*/ 371847467 w 317"/>
                  <a:gd name="T91" fmla="*/ 1424701511 h 213"/>
                  <a:gd name="T92" fmla="*/ 227239372 w 317"/>
                  <a:gd name="T93" fmla="*/ 1465997607 h 21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17"/>
                  <a:gd name="T142" fmla="*/ 0 h 213"/>
                  <a:gd name="T143" fmla="*/ 317 w 317"/>
                  <a:gd name="T144" fmla="*/ 213 h 21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17" h="213">
                    <a:moveTo>
                      <a:pt x="33" y="213"/>
                    </a:moveTo>
                    <a:cubicBezTo>
                      <a:pt x="30" y="210"/>
                      <a:pt x="24" y="207"/>
                      <a:pt x="21" y="204"/>
                    </a:cubicBezTo>
                    <a:cubicBezTo>
                      <a:pt x="12" y="198"/>
                      <a:pt x="6" y="192"/>
                      <a:pt x="0" y="186"/>
                    </a:cubicBezTo>
                    <a:cubicBezTo>
                      <a:pt x="0" y="180"/>
                      <a:pt x="3" y="177"/>
                      <a:pt x="3" y="174"/>
                    </a:cubicBezTo>
                    <a:cubicBezTo>
                      <a:pt x="9" y="171"/>
                      <a:pt x="15" y="165"/>
                      <a:pt x="18" y="159"/>
                    </a:cubicBezTo>
                    <a:cubicBezTo>
                      <a:pt x="18" y="153"/>
                      <a:pt x="18" y="147"/>
                      <a:pt x="18" y="144"/>
                    </a:cubicBezTo>
                    <a:cubicBezTo>
                      <a:pt x="18" y="135"/>
                      <a:pt x="9" y="105"/>
                      <a:pt x="6" y="102"/>
                    </a:cubicBezTo>
                    <a:cubicBezTo>
                      <a:pt x="6" y="93"/>
                      <a:pt x="3" y="90"/>
                      <a:pt x="9" y="84"/>
                    </a:cubicBezTo>
                    <a:cubicBezTo>
                      <a:pt x="15" y="72"/>
                      <a:pt x="24" y="66"/>
                      <a:pt x="33" y="57"/>
                    </a:cubicBezTo>
                    <a:cubicBezTo>
                      <a:pt x="42" y="39"/>
                      <a:pt x="57" y="36"/>
                      <a:pt x="75" y="24"/>
                    </a:cubicBezTo>
                    <a:cubicBezTo>
                      <a:pt x="84" y="15"/>
                      <a:pt x="90" y="6"/>
                      <a:pt x="99" y="0"/>
                    </a:cubicBezTo>
                    <a:cubicBezTo>
                      <a:pt x="102" y="6"/>
                      <a:pt x="102" y="12"/>
                      <a:pt x="105" y="18"/>
                    </a:cubicBezTo>
                    <a:cubicBezTo>
                      <a:pt x="108" y="18"/>
                      <a:pt x="114" y="18"/>
                      <a:pt x="117" y="18"/>
                    </a:cubicBezTo>
                    <a:cubicBezTo>
                      <a:pt x="120" y="15"/>
                      <a:pt x="120" y="9"/>
                      <a:pt x="123" y="6"/>
                    </a:cubicBezTo>
                    <a:cubicBezTo>
                      <a:pt x="129" y="6"/>
                      <a:pt x="138" y="9"/>
                      <a:pt x="147" y="3"/>
                    </a:cubicBezTo>
                    <a:cubicBezTo>
                      <a:pt x="147" y="6"/>
                      <a:pt x="150" y="12"/>
                      <a:pt x="152" y="15"/>
                    </a:cubicBezTo>
                    <a:cubicBezTo>
                      <a:pt x="152" y="24"/>
                      <a:pt x="152" y="30"/>
                      <a:pt x="152" y="39"/>
                    </a:cubicBezTo>
                    <a:cubicBezTo>
                      <a:pt x="158" y="45"/>
                      <a:pt x="173" y="54"/>
                      <a:pt x="191" y="54"/>
                    </a:cubicBezTo>
                    <a:cubicBezTo>
                      <a:pt x="197" y="42"/>
                      <a:pt x="203" y="33"/>
                      <a:pt x="209" y="21"/>
                    </a:cubicBezTo>
                    <a:cubicBezTo>
                      <a:pt x="212" y="18"/>
                      <a:pt x="215" y="15"/>
                      <a:pt x="218" y="12"/>
                    </a:cubicBezTo>
                    <a:cubicBezTo>
                      <a:pt x="224" y="9"/>
                      <a:pt x="233" y="6"/>
                      <a:pt x="245" y="6"/>
                    </a:cubicBezTo>
                    <a:cubicBezTo>
                      <a:pt x="251" y="9"/>
                      <a:pt x="260" y="12"/>
                      <a:pt x="266" y="15"/>
                    </a:cubicBezTo>
                    <a:cubicBezTo>
                      <a:pt x="281" y="15"/>
                      <a:pt x="299" y="15"/>
                      <a:pt x="314" y="15"/>
                    </a:cubicBezTo>
                    <a:cubicBezTo>
                      <a:pt x="314" y="15"/>
                      <a:pt x="317" y="15"/>
                      <a:pt x="317" y="18"/>
                    </a:cubicBezTo>
                    <a:cubicBezTo>
                      <a:pt x="317" y="18"/>
                      <a:pt x="317" y="18"/>
                      <a:pt x="317" y="21"/>
                    </a:cubicBezTo>
                    <a:cubicBezTo>
                      <a:pt x="314" y="27"/>
                      <a:pt x="314" y="30"/>
                      <a:pt x="314" y="36"/>
                    </a:cubicBezTo>
                    <a:cubicBezTo>
                      <a:pt x="308" y="36"/>
                      <a:pt x="302" y="39"/>
                      <a:pt x="296" y="39"/>
                    </a:cubicBezTo>
                    <a:cubicBezTo>
                      <a:pt x="281" y="48"/>
                      <a:pt x="254" y="60"/>
                      <a:pt x="248" y="78"/>
                    </a:cubicBezTo>
                    <a:cubicBezTo>
                      <a:pt x="245" y="81"/>
                      <a:pt x="242" y="81"/>
                      <a:pt x="239" y="84"/>
                    </a:cubicBezTo>
                    <a:cubicBezTo>
                      <a:pt x="233" y="90"/>
                      <a:pt x="227" y="90"/>
                      <a:pt x="221" y="93"/>
                    </a:cubicBezTo>
                    <a:cubicBezTo>
                      <a:pt x="218" y="96"/>
                      <a:pt x="218" y="96"/>
                      <a:pt x="218" y="96"/>
                    </a:cubicBezTo>
                    <a:cubicBezTo>
                      <a:pt x="218" y="102"/>
                      <a:pt x="218" y="108"/>
                      <a:pt x="218" y="114"/>
                    </a:cubicBezTo>
                    <a:cubicBezTo>
                      <a:pt x="212" y="120"/>
                      <a:pt x="203" y="129"/>
                      <a:pt x="200" y="138"/>
                    </a:cubicBezTo>
                    <a:cubicBezTo>
                      <a:pt x="197" y="144"/>
                      <a:pt x="200" y="153"/>
                      <a:pt x="194" y="159"/>
                    </a:cubicBezTo>
                    <a:cubicBezTo>
                      <a:pt x="179" y="159"/>
                      <a:pt x="176" y="168"/>
                      <a:pt x="170" y="174"/>
                    </a:cubicBezTo>
                    <a:cubicBezTo>
                      <a:pt x="167" y="183"/>
                      <a:pt x="164" y="195"/>
                      <a:pt x="155" y="201"/>
                    </a:cubicBezTo>
                    <a:cubicBezTo>
                      <a:pt x="155" y="198"/>
                      <a:pt x="155" y="198"/>
                      <a:pt x="155" y="198"/>
                    </a:cubicBezTo>
                    <a:cubicBezTo>
                      <a:pt x="152" y="198"/>
                      <a:pt x="152" y="195"/>
                      <a:pt x="150" y="195"/>
                    </a:cubicBezTo>
                    <a:cubicBezTo>
                      <a:pt x="147" y="195"/>
                      <a:pt x="144" y="195"/>
                      <a:pt x="144" y="195"/>
                    </a:cubicBezTo>
                    <a:cubicBezTo>
                      <a:pt x="138" y="198"/>
                      <a:pt x="135" y="204"/>
                      <a:pt x="129" y="207"/>
                    </a:cubicBezTo>
                    <a:cubicBezTo>
                      <a:pt x="123" y="210"/>
                      <a:pt x="111" y="207"/>
                      <a:pt x="105" y="207"/>
                    </a:cubicBezTo>
                    <a:cubicBezTo>
                      <a:pt x="105" y="204"/>
                      <a:pt x="105" y="201"/>
                      <a:pt x="105" y="201"/>
                    </a:cubicBezTo>
                    <a:cubicBezTo>
                      <a:pt x="96" y="192"/>
                      <a:pt x="90" y="186"/>
                      <a:pt x="84" y="180"/>
                    </a:cubicBezTo>
                    <a:cubicBezTo>
                      <a:pt x="78" y="180"/>
                      <a:pt x="75" y="180"/>
                      <a:pt x="72" y="180"/>
                    </a:cubicBezTo>
                    <a:cubicBezTo>
                      <a:pt x="69" y="186"/>
                      <a:pt x="69" y="192"/>
                      <a:pt x="66" y="201"/>
                    </a:cubicBezTo>
                    <a:cubicBezTo>
                      <a:pt x="60" y="201"/>
                      <a:pt x="54" y="204"/>
                      <a:pt x="54" y="207"/>
                    </a:cubicBezTo>
                    <a:cubicBezTo>
                      <a:pt x="45" y="207"/>
                      <a:pt x="39" y="213"/>
                      <a:pt x="33" y="21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38" name="Freeform 137"/>
              <p:cNvSpPr>
                <a:spLocks/>
              </p:cNvSpPr>
              <p:nvPr/>
            </p:nvSpPr>
            <p:spPr bwMode="auto">
              <a:xfrm>
                <a:off x="7006302" y="2559456"/>
                <a:ext cx="279750" cy="283755"/>
              </a:xfrm>
              <a:custGeom>
                <a:avLst/>
                <a:gdLst>
                  <a:gd name="T0" fmla="*/ 685952440 w 117"/>
                  <a:gd name="T1" fmla="*/ 905892900 h 131"/>
                  <a:gd name="T2" fmla="*/ 561233126 w 117"/>
                  <a:gd name="T3" fmla="*/ 802165245 h 131"/>
                  <a:gd name="T4" fmla="*/ 498874786 w 117"/>
                  <a:gd name="T5" fmla="*/ 594707141 h 131"/>
                  <a:gd name="T6" fmla="*/ 478087795 w 117"/>
                  <a:gd name="T7" fmla="*/ 553216078 h 131"/>
                  <a:gd name="T8" fmla="*/ 228651718 w 117"/>
                  <a:gd name="T9" fmla="*/ 490979485 h 131"/>
                  <a:gd name="T10" fmla="*/ 187077736 w 117"/>
                  <a:gd name="T11" fmla="*/ 532470547 h 131"/>
                  <a:gd name="T12" fmla="*/ 20786996 w 117"/>
                  <a:gd name="T13" fmla="*/ 532470547 h 131"/>
                  <a:gd name="T14" fmla="*/ 83145352 w 117"/>
                  <a:gd name="T15" fmla="*/ 407997361 h 131"/>
                  <a:gd name="T16" fmla="*/ 145506345 w 117"/>
                  <a:gd name="T17" fmla="*/ 345760768 h 131"/>
                  <a:gd name="T18" fmla="*/ 124719355 w 117"/>
                  <a:gd name="T19" fmla="*/ 179796438 h 131"/>
                  <a:gd name="T20" fmla="*/ 291010059 w 117"/>
                  <a:gd name="T21" fmla="*/ 82982145 h 131"/>
                  <a:gd name="T22" fmla="*/ 353371114 w 117"/>
                  <a:gd name="T23" fmla="*/ 0 h 131"/>
                  <a:gd name="T24" fmla="*/ 415729454 w 117"/>
                  <a:gd name="T25" fmla="*/ 62236614 h 131"/>
                  <a:gd name="T26" fmla="*/ 540448768 w 117"/>
                  <a:gd name="T27" fmla="*/ 62236614 h 131"/>
                  <a:gd name="T28" fmla="*/ 561233126 w 117"/>
                  <a:gd name="T29" fmla="*/ 304269624 h 131"/>
                  <a:gd name="T30" fmla="*/ 623594099 w 117"/>
                  <a:gd name="T31" fmla="*/ 325015155 h 131"/>
                  <a:gd name="T32" fmla="*/ 665165449 w 117"/>
                  <a:gd name="T33" fmla="*/ 345760768 h 131"/>
                  <a:gd name="T34" fmla="*/ 748313577 w 117"/>
                  <a:gd name="T35" fmla="*/ 573961609 h 131"/>
                  <a:gd name="T36" fmla="*/ 810671918 w 117"/>
                  <a:gd name="T37" fmla="*/ 677691894 h 131"/>
                  <a:gd name="T38" fmla="*/ 685952440 w 117"/>
                  <a:gd name="T39" fmla="*/ 760674183 h 131"/>
                  <a:gd name="T40" fmla="*/ 685952440 w 117"/>
                  <a:gd name="T41" fmla="*/ 905892900 h 13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17"/>
                  <a:gd name="T64" fmla="*/ 0 h 131"/>
                  <a:gd name="T65" fmla="*/ 117 w 117"/>
                  <a:gd name="T66" fmla="*/ 131 h 13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17" h="131">
                    <a:moveTo>
                      <a:pt x="99" y="131"/>
                    </a:moveTo>
                    <a:cubicBezTo>
                      <a:pt x="90" y="125"/>
                      <a:pt x="81" y="116"/>
                      <a:pt x="81" y="116"/>
                    </a:cubicBezTo>
                    <a:cubicBezTo>
                      <a:pt x="72" y="104"/>
                      <a:pt x="75" y="92"/>
                      <a:pt x="72" y="86"/>
                    </a:cubicBezTo>
                    <a:cubicBezTo>
                      <a:pt x="72" y="86"/>
                      <a:pt x="72" y="83"/>
                      <a:pt x="69" y="80"/>
                    </a:cubicBezTo>
                    <a:cubicBezTo>
                      <a:pt x="54" y="68"/>
                      <a:pt x="51" y="65"/>
                      <a:pt x="33" y="71"/>
                    </a:cubicBezTo>
                    <a:cubicBezTo>
                      <a:pt x="30" y="74"/>
                      <a:pt x="30" y="74"/>
                      <a:pt x="27" y="77"/>
                    </a:cubicBezTo>
                    <a:cubicBezTo>
                      <a:pt x="18" y="77"/>
                      <a:pt x="9" y="77"/>
                      <a:pt x="3" y="77"/>
                    </a:cubicBezTo>
                    <a:cubicBezTo>
                      <a:pt x="3" y="68"/>
                      <a:pt x="0" y="62"/>
                      <a:pt x="12" y="59"/>
                    </a:cubicBezTo>
                    <a:cubicBezTo>
                      <a:pt x="15" y="56"/>
                      <a:pt x="18" y="53"/>
                      <a:pt x="21" y="50"/>
                    </a:cubicBezTo>
                    <a:cubicBezTo>
                      <a:pt x="27" y="38"/>
                      <a:pt x="18" y="32"/>
                      <a:pt x="18" y="26"/>
                    </a:cubicBezTo>
                    <a:cubicBezTo>
                      <a:pt x="27" y="23"/>
                      <a:pt x="36" y="18"/>
                      <a:pt x="42" y="12"/>
                    </a:cubicBezTo>
                    <a:cubicBezTo>
                      <a:pt x="45" y="3"/>
                      <a:pt x="45" y="0"/>
                      <a:pt x="51" y="0"/>
                    </a:cubicBezTo>
                    <a:cubicBezTo>
                      <a:pt x="54" y="3"/>
                      <a:pt x="57" y="6"/>
                      <a:pt x="60" y="9"/>
                    </a:cubicBezTo>
                    <a:cubicBezTo>
                      <a:pt x="66" y="9"/>
                      <a:pt x="72" y="9"/>
                      <a:pt x="78" y="9"/>
                    </a:cubicBezTo>
                    <a:cubicBezTo>
                      <a:pt x="75" y="15"/>
                      <a:pt x="75" y="35"/>
                      <a:pt x="81" y="44"/>
                    </a:cubicBezTo>
                    <a:cubicBezTo>
                      <a:pt x="84" y="47"/>
                      <a:pt x="87" y="47"/>
                      <a:pt x="90" y="47"/>
                    </a:cubicBezTo>
                    <a:cubicBezTo>
                      <a:pt x="90" y="47"/>
                      <a:pt x="93" y="50"/>
                      <a:pt x="96" y="50"/>
                    </a:cubicBezTo>
                    <a:cubicBezTo>
                      <a:pt x="96" y="65"/>
                      <a:pt x="90" y="71"/>
                      <a:pt x="108" y="83"/>
                    </a:cubicBezTo>
                    <a:cubicBezTo>
                      <a:pt x="111" y="89"/>
                      <a:pt x="114" y="92"/>
                      <a:pt x="117" y="98"/>
                    </a:cubicBezTo>
                    <a:cubicBezTo>
                      <a:pt x="105" y="104"/>
                      <a:pt x="105" y="101"/>
                      <a:pt x="99" y="110"/>
                    </a:cubicBezTo>
                    <a:cubicBezTo>
                      <a:pt x="99" y="116"/>
                      <a:pt x="99" y="125"/>
                      <a:pt x="99" y="131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39" name="Freeform 138"/>
              <p:cNvSpPr>
                <a:spLocks/>
              </p:cNvSpPr>
              <p:nvPr/>
            </p:nvSpPr>
            <p:spPr bwMode="auto">
              <a:xfrm>
                <a:off x="7797964" y="4465977"/>
                <a:ext cx="193229" cy="419748"/>
              </a:xfrm>
              <a:custGeom>
                <a:avLst/>
                <a:gdLst>
                  <a:gd name="T0" fmla="*/ 268986804 w 81"/>
                  <a:gd name="T1" fmla="*/ 1338556246 h 194"/>
                  <a:gd name="T2" fmla="*/ 165531543 w 81"/>
                  <a:gd name="T3" fmla="*/ 1193659935 h 194"/>
                  <a:gd name="T4" fmla="*/ 103457887 w 81"/>
                  <a:gd name="T5" fmla="*/ 1172961212 h 194"/>
                  <a:gd name="T6" fmla="*/ 20692099 w 81"/>
                  <a:gd name="T7" fmla="*/ 1007366178 h 194"/>
                  <a:gd name="T8" fmla="*/ 0 w 81"/>
                  <a:gd name="T9" fmla="*/ 931469111 h 194"/>
                  <a:gd name="T10" fmla="*/ 41381573 w 81"/>
                  <a:gd name="T11" fmla="*/ 745175354 h 194"/>
                  <a:gd name="T12" fmla="*/ 124147355 w 81"/>
                  <a:gd name="T13" fmla="*/ 496782639 h 194"/>
                  <a:gd name="T14" fmla="*/ 144839449 w 81"/>
                  <a:gd name="T15" fmla="*/ 372587677 h 194"/>
                  <a:gd name="T16" fmla="*/ 289678898 w 81"/>
                  <a:gd name="T17" fmla="*/ 103496281 h 194"/>
                  <a:gd name="T18" fmla="*/ 413826294 w 81"/>
                  <a:gd name="T19" fmla="*/ 0 h 194"/>
                  <a:gd name="T20" fmla="*/ 517284140 w 81"/>
                  <a:gd name="T21" fmla="*/ 0 h 194"/>
                  <a:gd name="T22" fmla="*/ 537973608 w 81"/>
                  <a:gd name="T23" fmla="*/ 144896352 h 194"/>
                  <a:gd name="T24" fmla="*/ 517284140 w 81"/>
                  <a:gd name="T25" fmla="*/ 600281506 h 194"/>
                  <a:gd name="T26" fmla="*/ 351752637 w 81"/>
                  <a:gd name="T27" fmla="*/ 931469111 h 194"/>
                  <a:gd name="T28" fmla="*/ 331060461 w 81"/>
                  <a:gd name="T29" fmla="*/ 986667456 h 194"/>
                  <a:gd name="T30" fmla="*/ 310370993 w 81"/>
                  <a:gd name="T31" fmla="*/ 1317857524 h 194"/>
                  <a:gd name="T32" fmla="*/ 268986804 w 81"/>
                  <a:gd name="T33" fmla="*/ 1338556246 h 19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1"/>
                  <a:gd name="T52" fmla="*/ 0 h 194"/>
                  <a:gd name="T53" fmla="*/ 81 w 81"/>
                  <a:gd name="T54" fmla="*/ 194 h 19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1" h="194">
                    <a:moveTo>
                      <a:pt x="39" y="194"/>
                    </a:moveTo>
                    <a:cubicBezTo>
                      <a:pt x="33" y="185"/>
                      <a:pt x="30" y="179"/>
                      <a:pt x="24" y="173"/>
                    </a:cubicBezTo>
                    <a:cubicBezTo>
                      <a:pt x="21" y="170"/>
                      <a:pt x="18" y="170"/>
                      <a:pt x="15" y="170"/>
                    </a:cubicBezTo>
                    <a:cubicBezTo>
                      <a:pt x="12" y="158"/>
                      <a:pt x="6" y="149"/>
                      <a:pt x="3" y="146"/>
                    </a:cubicBezTo>
                    <a:cubicBezTo>
                      <a:pt x="0" y="143"/>
                      <a:pt x="0" y="141"/>
                      <a:pt x="0" y="135"/>
                    </a:cubicBezTo>
                    <a:cubicBezTo>
                      <a:pt x="3" y="126"/>
                      <a:pt x="6" y="117"/>
                      <a:pt x="6" y="108"/>
                    </a:cubicBezTo>
                    <a:cubicBezTo>
                      <a:pt x="0" y="87"/>
                      <a:pt x="9" y="84"/>
                      <a:pt x="18" y="72"/>
                    </a:cubicBezTo>
                    <a:cubicBezTo>
                      <a:pt x="18" y="66"/>
                      <a:pt x="18" y="60"/>
                      <a:pt x="21" y="54"/>
                    </a:cubicBezTo>
                    <a:cubicBezTo>
                      <a:pt x="27" y="36"/>
                      <a:pt x="30" y="27"/>
                      <a:pt x="42" y="15"/>
                    </a:cubicBezTo>
                    <a:cubicBezTo>
                      <a:pt x="48" y="9"/>
                      <a:pt x="54" y="6"/>
                      <a:pt x="60" y="0"/>
                    </a:cubicBezTo>
                    <a:cubicBezTo>
                      <a:pt x="66" y="0"/>
                      <a:pt x="69" y="0"/>
                      <a:pt x="75" y="0"/>
                    </a:cubicBezTo>
                    <a:cubicBezTo>
                      <a:pt x="75" y="3"/>
                      <a:pt x="81" y="15"/>
                      <a:pt x="78" y="21"/>
                    </a:cubicBezTo>
                    <a:cubicBezTo>
                      <a:pt x="69" y="36"/>
                      <a:pt x="75" y="63"/>
                      <a:pt x="75" y="87"/>
                    </a:cubicBezTo>
                    <a:cubicBezTo>
                      <a:pt x="69" y="102"/>
                      <a:pt x="60" y="120"/>
                      <a:pt x="51" y="135"/>
                    </a:cubicBezTo>
                    <a:cubicBezTo>
                      <a:pt x="51" y="138"/>
                      <a:pt x="51" y="141"/>
                      <a:pt x="48" y="143"/>
                    </a:cubicBezTo>
                    <a:cubicBezTo>
                      <a:pt x="48" y="158"/>
                      <a:pt x="45" y="176"/>
                      <a:pt x="45" y="191"/>
                    </a:cubicBezTo>
                    <a:cubicBezTo>
                      <a:pt x="42" y="191"/>
                      <a:pt x="39" y="194"/>
                      <a:pt x="39" y="19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40" name="Rectangle 127"/>
              <p:cNvSpPr>
                <a:spLocks noChangeArrowheads="1"/>
              </p:cNvSpPr>
              <p:nvPr/>
            </p:nvSpPr>
            <p:spPr bwMode="auto">
              <a:xfrm>
                <a:off x="7583371" y="3043949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青岛</a:t>
                </a:r>
              </a:p>
            </p:txBody>
          </p:sp>
          <p:sp>
            <p:nvSpPr>
              <p:cNvPr id="141" name="Rectangle 127"/>
              <p:cNvSpPr>
                <a:spLocks noChangeArrowheads="1"/>
              </p:cNvSpPr>
              <p:nvPr/>
            </p:nvSpPr>
            <p:spPr bwMode="auto">
              <a:xfrm>
                <a:off x="7342386" y="3547184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南京</a:t>
                </a:r>
              </a:p>
            </p:txBody>
          </p:sp>
          <p:sp>
            <p:nvSpPr>
              <p:cNvPr id="142" name="Rectangle 127"/>
              <p:cNvSpPr>
                <a:spLocks noChangeArrowheads="1"/>
              </p:cNvSpPr>
              <p:nvPr/>
            </p:nvSpPr>
            <p:spPr bwMode="auto">
              <a:xfrm>
                <a:off x="7890422" y="3589338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上海</a:t>
                </a:r>
              </a:p>
            </p:txBody>
          </p:sp>
          <p:sp>
            <p:nvSpPr>
              <p:cNvPr id="143" name="Rectangle 127"/>
              <p:cNvSpPr>
                <a:spLocks noChangeArrowheads="1"/>
              </p:cNvSpPr>
              <p:nvPr/>
            </p:nvSpPr>
            <p:spPr bwMode="auto">
              <a:xfrm>
                <a:off x="7583371" y="3917182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杭州</a:t>
                </a:r>
              </a:p>
            </p:txBody>
          </p:sp>
          <p:sp>
            <p:nvSpPr>
              <p:cNvPr id="144" name="Rectangle 127"/>
              <p:cNvSpPr>
                <a:spLocks noChangeArrowheads="1"/>
              </p:cNvSpPr>
              <p:nvPr/>
            </p:nvSpPr>
            <p:spPr bwMode="auto">
              <a:xfrm>
                <a:off x="6829699" y="4780292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广州</a:t>
                </a:r>
              </a:p>
            </p:txBody>
          </p:sp>
          <p:sp>
            <p:nvSpPr>
              <p:cNvPr id="145" name="Rectangle 127"/>
              <p:cNvSpPr>
                <a:spLocks noChangeArrowheads="1"/>
              </p:cNvSpPr>
              <p:nvPr/>
            </p:nvSpPr>
            <p:spPr bwMode="auto">
              <a:xfrm>
                <a:off x="6761159" y="3816088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武汉</a:t>
                </a:r>
              </a:p>
            </p:txBody>
          </p:sp>
          <p:sp>
            <p:nvSpPr>
              <p:cNvPr id="146" name="Rectangle 127"/>
              <p:cNvSpPr>
                <a:spLocks noChangeArrowheads="1"/>
              </p:cNvSpPr>
              <p:nvPr/>
            </p:nvSpPr>
            <p:spPr bwMode="auto">
              <a:xfrm>
                <a:off x="5503788" y="3898644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zh-CN" altLang="en-US" sz="800" b="1" dirty="0">
                    <a:solidFill>
                      <a:schemeClr val="bg1"/>
                    </a:solidFill>
                    <a:latin typeface="+mj-ea"/>
                    <a:ea typeface="+mj-ea"/>
                  </a:rPr>
                  <a:t>成都</a:t>
                </a:r>
              </a:p>
            </p:txBody>
          </p:sp>
          <p:sp>
            <p:nvSpPr>
              <p:cNvPr id="147" name="Rectangle 127"/>
              <p:cNvSpPr>
                <a:spLocks noChangeArrowheads="1"/>
              </p:cNvSpPr>
              <p:nvPr/>
            </p:nvSpPr>
            <p:spPr bwMode="auto">
              <a:xfrm>
                <a:off x="4035767" y="2211631"/>
                <a:ext cx="410369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乌鲁木齐</a:t>
                </a:r>
              </a:p>
            </p:txBody>
          </p:sp>
          <p:sp>
            <p:nvSpPr>
              <p:cNvPr id="148" name="Rectangle 127"/>
              <p:cNvSpPr>
                <a:spLocks noChangeArrowheads="1"/>
              </p:cNvSpPr>
              <p:nvPr/>
            </p:nvSpPr>
            <p:spPr bwMode="auto">
              <a:xfrm>
                <a:off x="7041992" y="2458052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北京</a:t>
                </a:r>
              </a:p>
            </p:txBody>
          </p:sp>
          <p:sp>
            <p:nvSpPr>
              <p:cNvPr id="149" name="Rectangle 127"/>
              <p:cNvSpPr>
                <a:spLocks noChangeArrowheads="1"/>
              </p:cNvSpPr>
              <p:nvPr/>
            </p:nvSpPr>
            <p:spPr bwMode="auto">
              <a:xfrm>
                <a:off x="7521496" y="2356646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沈阳</a:t>
                </a:r>
              </a:p>
            </p:txBody>
          </p:sp>
          <p:sp>
            <p:nvSpPr>
              <p:cNvPr id="150" name="Rectangle 127"/>
              <p:cNvSpPr>
                <a:spLocks noChangeArrowheads="1"/>
              </p:cNvSpPr>
              <p:nvPr/>
            </p:nvSpPr>
            <p:spPr bwMode="auto">
              <a:xfrm>
                <a:off x="6981827" y="2755502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天津</a:t>
                </a:r>
              </a:p>
            </p:txBody>
          </p:sp>
          <p:sp>
            <p:nvSpPr>
              <p:cNvPr id="151" name="Rectangle 127"/>
              <p:cNvSpPr>
                <a:spLocks noChangeArrowheads="1"/>
              </p:cNvSpPr>
              <p:nvPr/>
            </p:nvSpPr>
            <p:spPr bwMode="auto">
              <a:xfrm>
                <a:off x="7830996" y="1624498"/>
                <a:ext cx="307777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哈尔滨</a:t>
                </a:r>
              </a:p>
            </p:txBody>
          </p:sp>
          <p:sp>
            <p:nvSpPr>
              <p:cNvPr id="152" name="Rectangle 127"/>
              <p:cNvSpPr>
                <a:spLocks noChangeArrowheads="1"/>
              </p:cNvSpPr>
              <p:nvPr/>
            </p:nvSpPr>
            <p:spPr bwMode="auto">
              <a:xfrm>
                <a:off x="7113960" y="4878574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defRPr/>
                </a:pPr>
                <a:r>
                  <a:rPr lang="zh-CN" altLang="en-US" sz="800" dirty="0">
                    <a:solidFill>
                      <a:schemeClr val="bg1"/>
                    </a:solidFill>
                    <a:latin typeface="微软雅黑" pitchFamily="34" charset="-122"/>
                  </a:rPr>
                  <a:t>香港</a:t>
                </a:r>
              </a:p>
            </p:txBody>
          </p:sp>
          <p:sp>
            <p:nvSpPr>
              <p:cNvPr id="153" name="Rectangle 127"/>
              <p:cNvSpPr>
                <a:spLocks noChangeArrowheads="1"/>
              </p:cNvSpPr>
              <p:nvPr/>
            </p:nvSpPr>
            <p:spPr bwMode="auto">
              <a:xfrm>
                <a:off x="7727252" y="3468443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苏州</a:t>
                </a:r>
              </a:p>
            </p:txBody>
          </p:sp>
          <p:sp>
            <p:nvSpPr>
              <p:cNvPr id="154" name="Oval 153"/>
              <p:cNvSpPr/>
              <p:nvPr/>
            </p:nvSpPr>
            <p:spPr>
              <a:xfrm>
                <a:off x="7809119" y="3667941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55" name="Oval 154"/>
              <p:cNvSpPr/>
              <p:nvPr/>
            </p:nvSpPr>
            <p:spPr>
              <a:xfrm>
                <a:off x="5490026" y="3760352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56" name="Oval 155"/>
              <p:cNvSpPr/>
              <p:nvPr/>
            </p:nvSpPr>
            <p:spPr>
              <a:xfrm>
                <a:off x="6941330" y="4675851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57" name="Oval 156"/>
              <p:cNvSpPr/>
              <p:nvPr/>
            </p:nvSpPr>
            <p:spPr>
              <a:xfrm>
                <a:off x="7465921" y="3653939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58" name="Oval 157"/>
              <p:cNvSpPr/>
              <p:nvPr/>
            </p:nvSpPr>
            <p:spPr>
              <a:xfrm>
                <a:off x="7131087" y="2557259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59" name="Oval 158"/>
              <p:cNvSpPr/>
              <p:nvPr/>
            </p:nvSpPr>
            <p:spPr>
              <a:xfrm>
                <a:off x="7724521" y="2374150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60" name="Oval 159"/>
              <p:cNvSpPr/>
              <p:nvPr/>
            </p:nvSpPr>
            <p:spPr>
              <a:xfrm>
                <a:off x="7465921" y="3034025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61" name="Oval 160"/>
              <p:cNvSpPr/>
              <p:nvPr/>
            </p:nvSpPr>
            <p:spPr>
              <a:xfrm>
                <a:off x="6790108" y="3682706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62" name="Oval 161"/>
              <p:cNvSpPr/>
              <p:nvPr/>
            </p:nvSpPr>
            <p:spPr>
              <a:xfrm>
                <a:off x="7730629" y="3559800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63" name="Rectangle 127"/>
              <p:cNvSpPr>
                <a:spLocks noChangeArrowheads="1"/>
              </p:cNvSpPr>
              <p:nvPr/>
            </p:nvSpPr>
            <p:spPr bwMode="auto">
              <a:xfrm>
                <a:off x="6103115" y="3499880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西安</a:t>
                </a:r>
              </a:p>
            </p:txBody>
          </p:sp>
          <p:sp>
            <p:nvSpPr>
              <p:cNvPr id="186" name="Oval 185"/>
              <p:cNvSpPr/>
              <p:nvPr/>
            </p:nvSpPr>
            <p:spPr>
              <a:xfrm>
                <a:off x="6316302" y="3404974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87" name="Oval 186"/>
              <p:cNvSpPr/>
              <p:nvPr/>
            </p:nvSpPr>
            <p:spPr>
              <a:xfrm>
                <a:off x="7071191" y="4782441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88" name="Oval 187"/>
              <p:cNvSpPr/>
              <p:nvPr/>
            </p:nvSpPr>
            <p:spPr>
              <a:xfrm>
                <a:off x="6682634" y="4112665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89" name="Oval 188"/>
              <p:cNvSpPr/>
              <p:nvPr/>
            </p:nvSpPr>
            <p:spPr>
              <a:xfrm>
                <a:off x="7592691" y="3782509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90" name="Oval 189"/>
              <p:cNvSpPr/>
              <p:nvPr/>
            </p:nvSpPr>
            <p:spPr>
              <a:xfrm>
                <a:off x="7199005" y="2700155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91" name="Oval 190"/>
              <p:cNvSpPr/>
              <p:nvPr/>
            </p:nvSpPr>
            <p:spPr>
              <a:xfrm>
                <a:off x="7358447" y="3349262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92" name="Oval 191"/>
              <p:cNvSpPr/>
              <p:nvPr/>
            </p:nvSpPr>
            <p:spPr>
              <a:xfrm>
                <a:off x="8092042" y="1705479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sp>
            <p:nvSpPr>
              <p:cNvPr id="193" name="Oval 192"/>
              <p:cNvSpPr/>
              <p:nvPr/>
            </p:nvSpPr>
            <p:spPr>
              <a:xfrm>
                <a:off x="3928293" y="2265719"/>
                <a:ext cx="107474" cy="1269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ea typeface="宋体" pitchFamily="2" charset="-122"/>
                </a:endParaRPr>
              </a:p>
            </p:txBody>
          </p:sp>
          <p:pic>
            <p:nvPicPr>
              <p:cNvPr id="194" name="Picture 193"/>
              <p:cNvPicPr>
                <a:picLocks noChangeAspect="1"/>
              </p:cNvPicPr>
              <p:nvPr/>
            </p:nvPicPr>
            <p:blipFill>
              <a:blip r:embed="rId4" cstate="print"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19154" y="2489732"/>
                <a:ext cx="403808" cy="217078"/>
              </a:xfrm>
              <a:prstGeom prst="rect">
                <a:avLst/>
              </a:prstGeom>
              <a:ln>
                <a:noFill/>
              </a:ln>
              <a:effectLst/>
            </p:spPr>
          </p:pic>
          <p:sp>
            <p:nvSpPr>
              <p:cNvPr id="196" name="Rectangle 127"/>
              <p:cNvSpPr>
                <a:spLocks noChangeArrowheads="1"/>
              </p:cNvSpPr>
              <p:nvPr/>
            </p:nvSpPr>
            <p:spPr bwMode="auto">
              <a:xfrm>
                <a:off x="6680019" y="4222864"/>
                <a:ext cx="205184" cy="123111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zh-CN" altLang="en-US" sz="800" b="1" dirty="0">
                    <a:solidFill>
                      <a:schemeClr val="bg1"/>
                    </a:solidFill>
                    <a:latin typeface="微软雅黑" pitchFamily="34" charset="-122"/>
                  </a:rPr>
                  <a:t>长沙</a:t>
                </a:r>
              </a:p>
            </p:txBody>
          </p:sp>
          <p:pic>
            <p:nvPicPr>
              <p:cNvPr id="197" name="Picture 196"/>
              <p:cNvPicPr>
                <a:picLocks noChangeAspect="1"/>
              </p:cNvPicPr>
              <p:nvPr/>
            </p:nvPicPr>
            <p:blipFill>
              <a:blip r:embed="rId4" cstate="print"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99886" y="3682706"/>
                <a:ext cx="403808" cy="217078"/>
              </a:xfrm>
              <a:prstGeom prst="rect">
                <a:avLst/>
              </a:prstGeom>
              <a:ln>
                <a:noFill/>
              </a:ln>
              <a:effectLst/>
            </p:spPr>
          </p:pic>
          <p:pic>
            <p:nvPicPr>
              <p:cNvPr id="198" name="Picture 197"/>
              <p:cNvPicPr>
                <a:picLocks noChangeAspect="1"/>
              </p:cNvPicPr>
              <p:nvPr/>
            </p:nvPicPr>
            <p:blipFill>
              <a:blip r:embed="rId4" cstate="print"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54421" y="2741038"/>
                <a:ext cx="403808" cy="217078"/>
              </a:xfrm>
              <a:prstGeom prst="rect">
                <a:avLst/>
              </a:prstGeom>
              <a:ln>
                <a:noFill/>
              </a:ln>
              <a:effectLst/>
            </p:spPr>
          </p:pic>
        </p:grpSp>
        <p:sp>
          <p:nvSpPr>
            <p:cNvPr id="4" name="TextBox 3"/>
            <p:cNvSpPr txBox="1"/>
            <p:nvPr/>
          </p:nvSpPr>
          <p:spPr>
            <a:xfrm>
              <a:off x="6846279" y="3717189"/>
              <a:ext cx="615553" cy="184666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1200" dirty="0">
                  <a:solidFill>
                    <a:schemeClr val="bg1"/>
                  </a:solidFill>
                </a:rPr>
                <a:t>浙江海盐</a:t>
              </a:r>
            </a:p>
          </p:txBody>
        </p:sp>
        <p:sp>
          <p:nvSpPr>
            <p:cNvPr id="199" name="TextBox 198"/>
            <p:cNvSpPr txBox="1"/>
            <p:nvPr/>
          </p:nvSpPr>
          <p:spPr>
            <a:xfrm>
              <a:off x="6370665" y="2753253"/>
              <a:ext cx="538609" cy="161583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1050" dirty="0">
                  <a:solidFill>
                    <a:schemeClr val="bg1"/>
                  </a:solidFill>
                </a:rPr>
                <a:t>天津武清</a:t>
              </a:r>
            </a:p>
          </p:txBody>
        </p:sp>
        <p:sp>
          <p:nvSpPr>
            <p:cNvPr id="200" name="TextBox 199"/>
            <p:cNvSpPr txBox="1"/>
            <p:nvPr/>
          </p:nvSpPr>
          <p:spPr>
            <a:xfrm>
              <a:off x="6812090" y="2508198"/>
              <a:ext cx="538609" cy="161583"/>
            </a:xfrm>
            <a:prstGeom prst="rect">
              <a:avLst/>
            </a:prstGeom>
            <a:solidFill>
              <a:schemeClr val="tx2"/>
            </a:solidFill>
          </p:spPr>
          <p:txBody>
            <a:bodyPr wrap="none" lIns="0" tIns="0" rIns="0" bIns="0" rtlCol="0">
              <a:spAutoFit/>
            </a:bodyPr>
            <a:lstStyle/>
            <a:p>
              <a:r>
                <a:rPr lang="zh-CN" altLang="en-US" sz="1050" dirty="0">
                  <a:solidFill>
                    <a:schemeClr val="bg1"/>
                  </a:solidFill>
                </a:rPr>
                <a:t>辽宁鞍山</a:t>
              </a:r>
            </a:p>
          </p:txBody>
        </p:sp>
      </p:grpSp>
      <p:sp>
        <p:nvSpPr>
          <p:cNvPr id="201" name="Rectangle 127"/>
          <p:cNvSpPr>
            <a:spLocks noChangeArrowheads="1"/>
          </p:cNvSpPr>
          <p:nvPr/>
        </p:nvSpPr>
        <p:spPr bwMode="auto">
          <a:xfrm>
            <a:off x="6768339" y="3339131"/>
            <a:ext cx="205184" cy="12311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zh-CN" altLang="en-US" sz="800" b="1" dirty="0">
                <a:solidFill>
                  <a:schemeClr val="bg1"/>
                </a:solidFill>
                <a:latin typeface="微软雅黑" pitchFamily="34" charset="-122"/>
              </a:rPr>
              <a:t>徐州</a:t>
            </a:r>
          </a:p>
        </p:txBody>
      </p:sp>
    </p:spTree>
    <p:extLst>
      <p:ext uri="{BB962C8B-B14F-4D97-AF65-F5344CB8AC3E}">
        <p14:creationId xmlns:p14="http://schemas.microsoft.com/office/powerpoint/2010/main" val="2219018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6282119" y="3148624"/>
            <a:ext cx="2394335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zh-CN" altLang="en-US" sz="1200" b="1" dirty="0"/>
              <a:t>中国排名</a:t>
            </a:r>
            <a:r>
              <a:rPr lang="zh-CN" altLang="en-US" sz="1400" b="1" dirty="0">
                <a:solidFill>
                  <a:schemeClr val="accent2"/>
                </a:solidFill>
              </a:rPr>
              <a:t>第</a:t>
            </a:r>
            <a:r>
              <a:rPr lang="en-US" altLang="zh-CN" sz="1400" b="1" dirty="0">
                <a:solidFill>
                  <a:schemeClr val="accent2"/>
                </a:solidFill>
              </a:rPr>
              <a:t>3</a:t>
            </a:r>
            <a:r>
              <a:rPr lang="zh-CN" altLang="en-US" sz="1200" b="1" dirty="0"/>
              <a:t>的低压变频器供应商</a:t>
            </a:r>
            <a:endParaRPr lang="en-US" altLang="zh-CN" sz="1200" b="1" dirty="0"/>
          </a:p>
          <a:p>
            <a:pPr>
              <a:spcBef>
                <a:spcPts val="600"/>
              </a:spcBef>
            </a:pPr>
            <a:br>
              <a:rPr lang="da-DK" sz="1100" dirty="0"/>
            </a:br>
            <a:r>
              <a:rPr lang="zh-CN" altLang="en-US" sz="1100" dirty="0"/>
              <a:t>优势核心行业</a:t>
            </a:r>
            <a:r>
              <a:rPr lang="en-US" sz="1100" dirty="0"/>
              <a:t>: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zh-CN" altLang="en-US" sz="1100" dirty="0"/>
              <a:t>电梯和扶梯</a:t>
            </a:r>
            <a:endParaRPr lang="da-DK" altLang="zh-CN" sz="1100" dirty="0"/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zh-CN" altLang="en-US" sz="1100" dirty="0"/>
              <a:t>食品饮料包装</a:t>
            </a:r>
            <a:endParaRPr lang="da-DK" altLang="zh-CN" sz="1100" dirty="0"/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zh-CN" altLang="en-US" sz="1100" dirty="0"/>
              <a:t>暖通空调和制冷</a:t>
            </a:r>
            <a:endParaRPr lang="da-DK" altLang="zh-CN" sz="1100" dirty="0"/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zh-CN" altLang="en-US" sz="1100" dirty="0"/>
              <a:t>纺织</a:t>
            </a:r>
            <a:endParaRPr lang="en-US" altLang="zh-CN" sz="1100" dirty="0"/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zh-CN" altLang="en-US" sz="1100" dirty="0"/>
              <a:t>船舶和海工</a:t>
            </a:r>
            <a:endParaRPr lang="da-DK" altLang="zh-CN" sz="1100" dirty="0"/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zh-CN" altLang="en-US" sz="1100" dirty="0"/>
              <a:t>起重和提升</a:t>
            </a:r>
            <a:endParaRPr lang="en-US" altLang="zh-CN" sz="1100" dirty="0"/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zh-CN" altLang="en-US" sz="1100" dirty="0"/>
              <a:t>新能源</a:t>
            </a:r>
            <a:r>
              <a:rPr lang="da-DK" altLang="zh-CN" sz="1100" dirty="0"/>
              <a:t> – </a:t>
            </a:r>
            <a:r>
              <a:rPr lang="zh-CN" altLang="en-US" sz="1100" dirty="0"/>
              <a:t>风电，太阳能</a:t>
            </a:r>
            <a:endParaRPr lang="en-US" altLang="zh-CN" sz="1100" dirty="0"/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zh-CN" altLang="en-US" sz="1100" dirty="0"/>
              <a:t>造纸、冶金</a:t>
            </a:r>
            <a:endParaRPr lang="da-DK" altLang="zh-CN" sz="1100" dirty="0"/>
          </a:p>
          <a:p>
            <a:endParaRPr lang="da-DK" sz="11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丹佛斯中国传动业务</a:t>
            </a:r>
            <a:endParaRPr lang="da-DK" dirty="0"/>
          </a:p>
        </p:txBody>
      </p:sp>
      <p:sp>
        <p:nvSpPr>
          <p:cNvPr id="4" name="Rectangle 3"/>
          <p:cNvSpPr/>
          <p:nvPr/>
        </p:nvSpPr>
        <p:spPr>
          <a:xfrm>
            <a:off x="486244" y="2372563"/>
            <a:ext cx="3137095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da-DK" sz="1100" b="1" dirty="0"/>
              <a:t>20</a:t>
            </a:r>
            <a:r>
              <a:rPr lang="zh-CN" altLang="en-US" sz="1100" b="1" dirty="0"/>
              <a:t>年在中国的发展历程</a:t>
            </a:r>
            <a:r>
              <a:rPr lang="da-DK" sz="1100" b="1" dirty="0"/>
              <a:t>:</a:t>
            </a:r>
          </a:p>
          <a:p>
            <a:pPr marL="10800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1996</a:t>
            </a:r>
            <a:r>
              <a:rPr lang="zh-CN" altLang="en-US" sz="1100" dirty="0"/>
              <a:t>年，正式进入中国</a:t>
            </a:r>
            <a:endParaRPr lang="en-US" altLang="zh-CN" sz="1100" dirty="0"/>
          </a:p>
          <a:p>
            <a:pPr marL="10800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2002</a:t>
            </a:r>
            <a:r>
              <a:rPr lang="zh-CN" altLang="en-US" sz="1100" dirty="0"/>
              <a:t>年，丹佛斯天津工厂建立</a:t>
            </a:r>
          </a:p>
          <a:p>
            <a:pPr marL="10800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100" dirty="0"/>
              <a:t>2003</a:t>
            </a:r>
            <a:r>
              <a:rPr lang="zh-CN" altLang="en-US" sz="1100" dirty="0"/>
              <a:t>年  伟肯苏州工厂建立</a:t>
            </a:r>
          </a:p>
          <a:p>
            <a:pPr marL="10800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2005</a:t>
            </a:r>
            <a:r>
              <a:rPr lang="zh-CN" altLang="en-US" sz="1100" dirty="0"/>
              <a:t>年，收购海利普变频器</a:t>
            </a:r>
          </a:p>
          <a:p>
            <a:pPr marL="10800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100" dirty="0"/>
              <a:t>2006</a:t>
            </a:r>
            <a:r>
              <a:rPr lang="zh-CN" altLang="en-US" sz="1100" dirty="0"/>
              <a:t>年</a:t>
            </a:r>
            <a:r>
              <a:rPr lang="da-DK" sz="1100" dirty="0"/>
              <a:t>,  </a:t>
            </a:r>
            <a:r>
              <a:rPr lang="zh-CN" altLang="en-US" sz="1100" dirty="0"/>
              <a:t>建立北京研发中心</a:t>
            </a:r>
            <a:endParaRPr lang="en-US" altLang="zh-CN" sz="1100" dirty="0"/>
          </a:p>
          <a:p>
            <a:pPr marL="10800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100" dirty="0"/>
              <a:t>2008</a:t>
            </a:r>
            <a:r>
              <a:rPr lang="zh-CN" altLang="en-US" sz="1100" dirty="0"/>
              <a:t>年</a:t>
            </a:r>
            <a:r>
              <a:rPr lang="da-DK" sz="1100" dirty="0"/>
              <a:t>,  </a:t>
            </a:r>
            <a:r>
              <a:rPr lang="zh-CN" altLang="en-US" sz="1100" dirty="0"/>
              <a:t>海盐建立新传动工厂</a:t>
            </a:r>
            <a:endParaRPr lang="da-DK" sz="1100" dirty="0"/>
          </a:p>
          <a:p>
            <a:pPr marL="10800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1100" dirty="0"/>
              <a:t>2014</a:t>
            </a:r>
            <a:r>
              <a:rPr lang="zh-CN" altLang="en-US" sz="1100" dirty="0"/>
              <a:t>年</a:t>
            </a:r>
            <a:r>
              <a:rPr lang="da-DK" sz="1100" dirty="0"/>
              <a:t>,  </a:t>
            </a:r>
            <a:r>
              <a:rPr lang="zh-CN" altLang="en-US" sz="1100" dirty="0"/>
              <a:t>丹佛斯与伟肯公司合并</a:t>
            </a:r>
            <a:endParaRPr lang="da-DK" sz="1100" dirty="0"/>
          </a:p>
        </p:txBody>
      </p:sp>
      <p:sp>
        <p:nvSpPr>
          <p:cNvPr id="5" name="Rectangle 4"/>
          <p:cNvSpPr/>
          <p:nvPr/>
        </p:nvSpPr>
        <p:spPr>
          <a:xfrm>
            <a:off x="486245" y="4897683"/>
            <a:ext cx="3589212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zh-CN" altLang="en-US" sz="1100" b="1" dirty="0"/>
              <a:t>中国传动部业务</a:t>
            </a:r>
            <a:r>
              <a:rPr lang="en-US" altLang="zh-CN" sz="1100" b="1" dirty="0"/>
              <a:t>  </a:t>
            </a:r>
          </a:p>
          <a:p>
            <a:pPr marL="10800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altLang="zh-CN" sz="1100" dirty="0"/>
              <a:t>2016</a:t>
            </a:r>
            <a:r>
              <a:rPr lang="zh-CN" altLang="en-US" sz="1100" dirty="0"/>
              <a:t>年变频器销售额近</a:t>
            </a:r>
            <a:r>
              <a:rPr lang="da-DK" altLang="zh-CN" sz="1100" dirty="0"/>
              <a:t>15</a:t>
            </a:r>
            <a:r>
              <a:rPr lang="zh-CN" altLang="en-US" sz="1100" dirty="0"/>
              <a:t>亿人民币</a:t>
            </a:r>
            <a:endParaRPr lang="en-US" altLang="zh-CN" sz="1100" dirty="0"/>
          </a:p>
          <a:p>
            <a:pPr marL="10800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100" dirty="0"/>
              <a:t>中国区变频器销售台数超过</a:t>
            </a:r>
            <a:r>
              <a:rPr lang="en-US" altLang="zh-CN" sz="1100" dirty="0"/>
              <a:t>2</a:t>
            </a:r>
            <a:r>
              <a:rPr lang="zh-CN" altLang="en-US" sz="1100" dirty="0"/>
              <a:t>百万台</a:t>
            </a:r>
            <a:endParaRPr lang="en-US" altLang="zh-CN" sz="1100" dirty="0"/>
          </a:p>
          <a:p>
            <a:pPr marL="10800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100" dirty="0"/>
              <a:t>丹佛斯全球销售区域排名第二</a:t>
            </a:r>
            <a:endParaRPr lang="en-US" altLang="zh-CN" sz="1100" dirty="0"/>
          </a:p>
          <a:p>
            <a:pPr marL="10800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100" dirty="0"/>
              <a:t>中国传动部员工超过</a:t>
            </a:r>
            <a:r>
              <a:rPr lang="en-US" altLang="zh-CN" sz="1100" dirty="0"/>
              <a:t>900</a:t>
            </a:r>
            <a:r>
              <a:rPr lang="zh-CN" altLang="en-US" sz="1100" dirty="0"/>
              <a:t>名</a:t>
            </a:r>
            <a:endParaRPr lang="en-US" altLang="zh-CN" sz="1100" dirty="0"/>
          </a:p>
          <a:p>
            <a:endParaRPr lang="da-DK" sz="11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65" t="39012" r="38477" b="40741"/>
          <a:stretch/>
        </p:blipFill>
        <p:spPr>
          <a:xfrm>
            <a:off x="551735" y="4374393"/>
            <a:ext cx="855133" cy="52329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153284" y="961325"/>
            <a:ext cx="829310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200" dirty="0"/>
              <a:t>丹佛斯传动是电机驱动应用中能源优化技术的世界领导者</a:t>
            </a:r>
            <a:br>
              <a:rPr lang="da-DK" altLang="zh-CN" sz="1200" dirty="0"/>
            </a:br>
            <a:r>
              <a:rPr lang="da-DK" altLang="zh-CN" sz="1600" b="1" dirty="0">
                <a:solidFill>
                  <a:schemeClr val="accent3"/>
                </a:solidFill>
              </a:rPr>
              <a:t>– </a:t>
            </a:r>
            <a:r>
              <a:rPr lang="zh-CN" altLang="en-US" sz="1600" b="1" dirty="0">
                <a:solidFill>
                  <a:schemeClr val="accent3"/>
                </a:solidFill>
              </a:rPr>
              <a:t>是与您目标一致的变频器合作伙伴</a:t>
            </a:r>
            <a:endParaRPr lang="da-DK" altLang="zh-CN" sz="1600" b="1" dirty="0">
              <a:solidFill>
                <a:schemeClr val="accent3"/>
              </a:solidFill>
            </a:endParaRPr>
          </a:p>
        </p:txBody>
      </p:sp>
      <p:grpSp>
        <p:nvGrpSpPr>
          <p:cNvPr id="97" name="Group 96"/>
          <p:cNvGrpSpPr/>
          <p:nvPr/>
        </p:nvGrpSpPr>
        <p:grpSpPr>
          <a:xfrm>
            <a:off x="4685799" y="3026948"/>
            <a:ext cx="1462339" cy="1186995"/>
            <a:chOff x="4141798" y="2269352"/>
            <a:chExt cx="1708389" cy="1207493"/>
          </a:xfrm>
          <a:solidFill>
            <a:srgbClr val="C00000"/>
          </a:solidFill>
        </p:grpSpPr>
        <p:sp>
          <p:nvSpPr>
            <p:cNvPr id="13" name="Isosceles Triangle 12"/>
            <p:cNvSpPr/>
            <p:nvPr/>
          </p:nvSpPr>
          <p:spPr>
            <a:xfrm rot="5400000">
              <a:off x="5571359" y="2741847"/>
              <a:ext cx="295151" cy="262505"/>
            </a:xfrm>
            <a:prstGeom prst="triangle">
              <a:avLst>
                <a:gd name="adj" fmla="val 52747"/>
              </a:avLst>
            </a:prstGeom>
            <a:grpFill/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noProof="0" dirty="0" err="1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141798" y="2269352"/>
              <a:ext cx="1445884" cy="1207493"/>
            </a:xfrm>
            <a:prstGeom prst="rect">
              <a:avLst/>
            </a:prstGeom>
            <a:grpFill/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i-FI" sz="4800" b="1" noProof="0" dirty="0"/>
                <a:t>#</a:t>
              </a:r>
              <a:r>
                <a:rPr lang="fi-FI" sz="4800" noProof="0" dirty="0"/>
                <a:t>3</a:t>
              </a:r>
              <a:endParaRPr lang="fi-FI" sz="1400" noProof="0" dirty="0"/>
            </a:p>
          </p:txBody>
        </p:sp>
      </p:grpSp>
      <p:grpSp>
        <p:nvGrpSpPr>
          <p:cNvPr id="117" name="Group 116"/>
          <p:cNvGrpSpPr/>
          <p:nvPr/>
        </p:nvGrpSpPr>
        <p:grpSpPr>
          <a:xfrm>
            <a:off x="6506168" y="1959420"/>
            <a:ext cx="1459661" cy="1190538"/>
            <a:chOff x="6506168" y="1959420"/>
            <a:chExt cx="1459661" cy="1190538"/>
          </a:xfrm>
        </p:grpSpPr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7654812" y="2279266"/>
              <a:ext cx="171413" cy="158530"/>
            </a:xfrm>
            <a:custGeom>
              <a:avLst/>
              <a:gdLst>
                <a:gd name="T0" fmla="*/ 821718287 w 293"/>
                <a:gd name="T1" fmla="*/ 1897216634 h 275"/>
                <a:gd name="T2" fmla="*/ 801003548 w 293"/>
                <a:gd name="T3" fmla="*/ 1897216634 h 275"/>
                <a:gd name="T4" fmla="*/ 904582502 w 293"/>
                <a:gd name="T5" fmla="*/ 1773034183 h 275"/>
                <a:gd name="T6" fmla="*/ 946011981 w 293"/>
                <a:gd name="T7" fmla="*/ 1710944271 h 275"/>
                <a:gd name="T8" fmla="*/ 946011981 w 293"/>
                <a:gd name="T9" fmla="*/ 1648854359 h 275"/>
                <a:gd name="T10" fmla="*/ 863150395 w 293"/>
                <a:gd name="T11" fmla="*/ 1607459334 h 275"/>
                <a:gd name="T12" fmla="*/ 966726721 w 293"/>
                <a:gd name="T13" fmla="*/ 1379794572 h 275"/>
                <a:gd name="T14" fmla="*/ 987444088 w 293"/>
                <a:gd name="T15" fmla="*/ 1179724415 h 275"/>
                <a:gd name="T16" fmla="*/ 863150395 w 293"/>
                <a:gd name="T17" fmla="*/ 1034844452 h 275"/>
                <a:gd name="T18" fmla="*/ 801003548 w 293"/>
                <a:gd name="T19" fmla="*/ 1034844452 h 275"/>
                <a:gd name="T20" fmla="*/ 676709690 w 293"/>
                <a:gd name="T21" fmla="*/ 1055541965 h 275"/>
                <a:gd name="T22" fmla="*/ 510983889 w 293"/>
                <a:gd name="T23" fmla="*/ 1241814327 h 275"/>
                <a:gd name="T24" fmla="*/ 365975456 w 293"/>
                <a:gd name="T25" fmla="*/ 1441884484 h 275"/>
                <a:gd name="T26" fmla="*/ 124293735 w 293"/>
                <a:gd name="T27" fmla="*/ 1262511840 h 275"/>
                <a:gd name="T28" fmla="*/ 0 w 293"/>
                <a:gd name="T29" fmla="*/ 1200419301 h 275"/>
                <a:gd name="T30" fmla="*/ 62146867 w 293"/>
                <a:gd name="T31" fmla="*/ 1096936990 h 275"/>
                <a:gd name="T32" fmla="*/ 138102685 w 293"/>
                <a:gd name="T33" fmla="*/ 1014149565 h 275"/>
                <a:gd name="T34" fmla="*/ 124293735 w 293"/>
                <a:gd name="T35" fmla="*/ 827877203 h 275"/>
                <a:gd name="T36" fmla="*/ 124293735 w 293"/>
                <a:gd name="T37" fmla="*/ 827877203 h 275"/>
                <a:gd name="T38" fmla="*/ 103578995 w 293"/>
                <a:gd name="T39" fmla="*/ 786482177 h 275"/>
                <a:gd name="T40" fmla="*/ 62146867 w 293"/>
                <a:gd name="T41" fmla="*/ 724392265 h 275"/>
                <a:gd name="T42" fmla="*/ 103578995 w 293"/>
                <a:gd name="T43" fmla="*/ 600209651 h 275"/>
                <a:gd name="T44" fmla="*/ 158820053 w 293"/>
                <a:gd name="T45" fmla="*/ 703694752 h 275"/>
                <a:gd name="T46" fmla="*/ 345260716 w 293"/>
                <a:gd name="T47" fmla="*/ 765784664 h 275"/>
                <a:gd name="T48" fmla="*/ 407407563 w 293"/>
                <a:gd name="T49" fmla="*/ 703694752 h 275"/>
                <a:gd name="T50" fmla="*/ 738856701 w 293"/>
                <a:gd name="T51" fmla="*/ 434634801 h 275"/>
                <a:gd name="T52" fmla="*/ 842433027 w 293"/>
                <a:gd name="T53" fmla="*/ 289757382 h 275"/>
                <a:gd name="T54" fmla="*/ 1070305675 w 293"/>
                <a:gd name="T55" fmla="*/ 289757382 h 275"/>
                <a:gd name="T56" fmla="*/ 1153167261 w 293"/>
                <a:gd name="T57" fmla="*/ 289757382 h 275"/>
                <a:gd name="T58" fmla="*/ 1194599368 w 293"/>
                <a:gd name="T59" fmla="*/ 227664844 h 275"/>
                <a:gd name="T60" fmla="*/ 1194599368 w 293"/>
                <a:gd name="T61" fmla="*/ 62089932 h 275"/>
                <a:gd name="T62" fmla="*/ 1215314108 w 293"/>
                <a:gd name="T63" fmla="*/ 0 h 275"/>
                <a:gd name="T64" fmla="*/ 1360325169 w 293"/>
                <a:gd name="T65" fmla="*/ 103484979 h 275"/>
                <a:gd name="T66" fmla="*/ 1484616563 w 293"/>
                <a:gd name="T67" fmla="*/ 165574891 h 275"/>
                <a:gd name="T68" fmla="*/ 1505333931 w 293"/>
                <a:gd name="T69" fmla="*/ 103484979 h 275"/>
                <a:gd name="T70" fmla="*/ 1546763410 w 293"/>
                <a:gd name="T71" fmla="*/ 62089932 h 275"/>
                <a:gd name="T72" fmla="*/ 1567480778 w 293"/>
                <a:gd name="T73" fmla="*/ 82787445 h 275"/>
                <a:gd name="T74" fmla="*/ 1588195517 w 293"/>
                <a:gd name="T75" fmla="*/ 227664844 h 275"/>
                <a:gd name="T76" fmla="*/ 1774636058 w 293"/>
                <a:gd name="T77" fmla="*/ 434634801 h 275"/>
                <a:gd name="T78" fmla="*/ 1774636058 w 293"/>
                <a:gd name="T79" fmla="*/ 620907164 h 275"/>
                <a:gd name="T80" fmla="*/ 1816068165 w 293"/>
                <a:gd name="T81" fmla="*/ 682997075 h 275"/>
                <a:gd name="T82" fmla="*/ 1940361858 w 293"/>
                <a:gd name="T83" fmla="*/ 765784664 h 275"/>
                <a:gd name="T84" fmla="*/ 2023223445 w 293"/>
                <a:gd name="T85" fmla="*/ 827877203 h 275"/>
                <a:gd name="T86" fmla="*/ 1795350797 w 293"/>
                <a:gd name="T87" fmla="*/ 1014149565 h 275"/>
                <a:gd name="T88" fmla="*/ 1733203951 w 293"/>
                <a:gd name="T89" fmla="*/ 1076239477 h 275"/>
                <a:gd name="T90" fmla="*/ 1629627624 w 293"/>
                <a:gd name="T91" fmla="*/ 1200419301 h 275"/>
                <a:gd name="T92" fmla="*/ 1588195517 w 293"/>
                <a:gd name="T93" fmla="*/ 1324601752 h 275"/>
                <a:gd name="T94" fmla="*/ 1484616563 w 293"/>
                <a:gd name="T95" fmla="*/ 1365996778 h 275"/>
                <a:gd name="T96" fmla="*/ 1070305675 w 293"/>
                <a:gd name="T97" fmla="*/ 1648854359 h 275"/>
                <a:gd name="T98" fmla="*/ 1049590935 w 293"/>
                <a:gd name="T99" fmla="*/ 1690246759 h 275"/>
                <a:gd name="T100" fmla="*/ 987444088 w 293"/>
                <a:gd name="T101" fmla="*/ 1876519121 h 275"/>
                <a:gd name="T102" fmla="*/ 821718287 w 293"/>
                <a:gd name="T103" fmla="*/ 1897216634 h 27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93"/>
                <a:gd name="T157" fmla="*/ 0 h 275"/>
                <a:gd name="T158" fmla="*/ 293 w 293"/>
                <a:gd name="T159" fmla="*/ 275 h 27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93" h="275">
                  <a:moveTo>
                    <a:pt x="119" y="275"/>
                  </a:moveTo>
                  <a:cubicBezTo>
                    <a:pt x="116" y="275"/>
                    <a:pt x="116" y="275"/>
                    <a:pt x="116" y="275"/>
                  </a:cubicBezTo>
                  <a:cubicBezTo>
                    <a:pt x="122" y="263"/>
                    <a:pt x="125" y="263"/>
                    <a:pt x="131" y="257"/>
                  </a:cubicBezTo>
                  <a:cubicBezTo>
                    <a:pt x="131" y="254"/>
                    <a:pt x="134" y="251"/>
                    <a:pt x="137" y="248"/>
                  </a:cubicBezTo>
                  <a:cubicBezTo>
                    <a:pt x="137" y="245"/>
                    <a:pt x="137" y="242"/>
                    <a:pt x="137" y="239"/>
                  </a:cubicBezTo>
                  <a:cubicBezTo>
                    <a:pt x="131" y="239"/>
                    <a:pt x="128" y="236"/>
                    <a:pt x="125" y="233"/>
                  </a:cubicBezTo>
                  <a:cubicBezTo>
                    <a:pt x="122" y="215"/>
                    <a:pt x="131" y="212"/>
                    <a:pt x="140" y="200"/>
                  </a:cubicBezTo>
                  <a:cubicBezTo>
                    <a:pt x="146" y="192"/>
                    <a:pt x="143" y="180"/>
                    <a:pt x="143" y="171"/>
                  </a:cubicBezTo>
                  <a:cubicBezTo>
                    <a:pt x="137" y="165"/>
                    <a:pt x="131" y="156"/>
                    <a:pt x="125" y="150"/>
                  </a:cubicBezTo>
                  <a:cubicBezTo>
                    <a:pt x="122" y="150"/>
                    <a:pt x="119" y="150"/>
                    <a:pt x="116" y="150"/>
                  </a:cubicBezTo>
                  <a:cubicBezTo>
                    <a:pt x="110" y="150"/>
                    <a:pt x="104" y="153"/>
                    <a:pt x="98" y="153"/>
                  </a:cubicBezTo>
                  <a:cubicBezTo>
                    <a:pt x="89" y="162"/>
                    <a:pt x="83" y="171"/>
                    <a:pt x="74" y="180"/>
                  </a:cubicBezTo>
                  <a:cubicBezTo>
                    <a:pt x="68" y="189"/>
                    <a:pt x="62" y="200"/>
                    <a:pt x="53" y="209"/>
                  </a:cubicBezTo>
                  <a:cubicBezTo>
                    <a:pt x="41" y="198"/>
                    <a:pt x="26" y="192"/>
                    <a:pt x="18" y="183"/>
                  </a:cubicBezTo>
                  <a:cubicBezTo>
                    <a:pt x="9" y="183"/>
                    <a:pt x="3" y="177"/>
                    <a:pt x="0" y="174"/>
                  </a:cubicBezTo>
                  <a:cubicBezTo>
                    <a:pt x="0" y="162"/>
                    <a:pt x="0" y="162"/>
                    <a:pt x="9" y="159"/>
                  </a:cubicBezTo>
                  <a:cubicBezTo>
                    <a:pt x="12" y="156"/>
                    <a:pt x="15" y="150"/>
                    <a:pt x="20" y="147"/>
                  </a:cubicBezTo>
                  <a:cubicBezTo>
                    <a:pt x="20" y="138"/>
                    <a:pt x="18" y="129"/>
                    <a:pt x="18" y="120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15" y="117"/>
                    <a:pt x="15" y="117"/>
                    <a:pt x="15" y="114"/>
                  </a:cubicBezTo>
                  <a:cubicBezTo>
                    <a:pt x="12" y="111"/>
                    <a:pt x="12" y="108"/>
                    <a:pt x="9" y="105"/>
                  </a:cubicBezTo>
                  <a:cubicBezTo>
                    <a:pt x="9" y="96"/>
                    <a:pt x="9" y="90"/>
                    <a:pt x="15" y="87"/>
                  </a:cubicBezTo>
                  <a:cubicBezTo>
                    <a:pt x="18" y="87"/>
                    <a:pt x="20" y="93"/>
                    <a:pt x="23" y="102"/>
                  </a:cubicBezTo>
                  <a:cubicBezTo>
                    <a:pt x="32" y="108"/>
                    <a:pt x="32" y="114"/>
                    <a:pt x="50" y="111"/>
                  </a:cubicBezTo>
                  <a:cubicBezTo>
                    <a:pt x="53" y="108"/>
                    <a:pt x="56" y="105"/>
                    <a:pt x="59" y="102"/>
                  </a:cubicBezTo>
                  <a:cubicBezTo>
                    <a:pt x="74" y="93"/>
                    <a:pt x="92" y="75"/>
                    <a:pt x="107" y="63"/>
                  </a:cubicBezTo>
                  <a:cubicBezTo>
                    <a:pt x="113" y="57"/>
                    <a:pt x="119" y="48"/>
                    <a:pt x="122" y="42"/>
                  </a:cubicBezTo>
                  <a:cubicBezTo>
                    <a:pt x="134" y="39"/>
                    <a:pt x="140" y="33"/>
                    <a:pt x="155" y="42"/>
                  </a:cubicBezTo>
                  <a:cubicBezTo>
                    <a:pt x="158" y="42"/>
                    <a:pt x="161" y="42"/>
                    <a:pt x="167" y="42"/>
                  </a:cubicBezTo>
                  <a:cubicBezTo>
                    <a:pt x="167" y="39"/>
                    <a:pt x="170" y="36"/>
                    <a:pt x="173" y="33"/>
                  </a:cubicBezTo>
                  <a:cubicBezTo>
                    <a:pt x="173" y="24"/>
                    <a:pt x="173" y="18"/>
                    <a:pt x="173" y="9"/>
                  </a:cubicBezTo>
                  <a:cubicBezTo>
                    <a:pt x="173" y="6"/>
                    <a:pt x="176" y="3"/>
                    <a:pt x="176" y="0"/>
                  </a:cubicBezTo>
                  <a:cubicBezTo>
                    <a:pt x="182" y="0"/>
                    <a:pt x="191" y="6"/>
                    <a:pt x="197" y="15"/>
                  </a:cubicBezTo>
                  <a:cubicBezTo>
                    <a:pt x="203" y="21"/>
                    <a:pt x="203" y="24"/>
                    <a:pt x="215" y="24"/>
                  </a:cubicBezTo>
                  <a:cubicBezTo>
                    <a:pt x="218" y="21"/>
                    <a:pt x="218" y="15"/>
                    <a:pt x="218" y="15"/>
                  </a:cubicBezTo>
                  <a:cubicBezTo>
                    <a:pt x="221" y="12"/>
                    <a:pt x="221" y="9"/>
                    <a:pt x="224" y="9"/>
                  </a:cubicBezTo>
                  <a:cubicBezTo>
                    <a:pt x="227" y="12"/>
                    <a:pt x="227" y="12"/>
                    <a:pt x="227" y="12"/>
                  </a:cubicBezTo>
                  <a:cubicBezTo>
                    <a:pt x="227" y="18"/>
                    <a:pt x="230" y="24"/>
                    <a:pt x="230" y="33"/>
                  </a:cubicBezTo>
                  <a:cubicBezTo>
                    <a:pt x="236" y="39"/>
                    <a:pt x="245" y="51"/>
                    <a:pt x="257" y="63"/>
                  </a:cubicBezTo>
                  <a:cubicBezTo>
                    <a:pt x="257" y="72"/>
                    <a:pt x="257" y="81"/>
                    <a:pt x="257" y="90"/>
                  </a:cubicBezTo>
                  <a:cubicBezTo>
                    <a:pt x="260" y="93"/>
                    <a:pt x="263" y="96"/>
                    <a:pt x="263" y="99"/>
                  </a:cubicBezTo>
                  <a:cubicBezTo>
                    <a:pt x="269" y="102"/>
                    <a:pt x="275" y="105"/>
                    <a:pt x="281" y="111"/>
                  </a:cubicBezTo>
                  <a:cubicBezTo>
                    <a:pt x="284" y="114"/>
                    <a:pt x="290" y="117"/>
                    <a:pt x="293" y="120"/>
                  </a:cubicBezTo>
                  <a:cubicBezTo>
                    <a:pt x="293" y="123"/>
                    <a:pt x="263" y="144"/>
                    <a:pt x="260" y="147"/>
                  </a:cubicBezTo>
                  <a:cubicBezTo>
                    <a:pt x="257" y="150"/>
                    <a:pt x="254" y="153"/>
                    <a:pt x="251" y="156"/>
                  </a:cubicBezTo>
                  <a:cubicBezTo>
                    <a:pt x="245" y="162"/>
                    <a:pt x="239" y="168"/>
                    <a:pt x="236" y="174"/>
                  </a:cubicBezTo>
                  <a:cubicBezTo>
                    <a:pt x="233" y="180"/>
                    <a:pt x="233" y="186"/>
                    <a:pt x="230" y="192"/>
                  </a:cubicBezTo>
                  <a:cubicBezTo>
                    <a:pt x="224" y="195"/>
                    <a:pt x="221" y="198"/>
                    <a:pt x="215" y="198"/>
                  </a:cubicBezTo>
                  <a:cubicBezTo>
                    <a:pt x="188" y="203"/>
                    <a:pt x="170" y="215"/>
                    <a:pt x="155" y="239"/>
                  </a:cubicBezTo>
                  <a:cubicBezTo>
                    <a:pt x="152" y="239"/>
                    <a:pt x="152" y="242"/>
                    <a:pt x="152" y="245"/>
                  </a:cubicBezTo>
                  <a:cubicBezTo>
                    <a:pt x="149" y="254"/>
                    <a:pt x="146" y="263"/>
                    <a:pt x="143" y="272"/>
                  </a:cubicBezTo>
                  <a:cubicBezTo>
                    <a:pt x="134" y="275"/>
                    <a:pt x="125" y="275"/>
                    <a:pt x="119" y="275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7640674" y="1959420"/>
              <a:ext cx="325155" cy="288837"/>
            </a:xfrm>
            <a:custGeom>
              <a:avLst/>
              <a:gdLst>
                <a:gd name="T0" fmla="*/ 2147483647 w 556"/>
                <a:gd name="T1" fmla="*/ 2147483647 h 501"/>
                <a:gd name="T2" fmla="*/ 2147483647 w 556"/>
                <a:gd name="T3" fmla="*/ 2147483647 h 501"/>
                <a:gd name="T4" fmla="*/ 2147483647 w 556"/>
                <a:gd name="T5" fmla="*/ 2147483647 h 501"/>
                <a:gd name="T6" fmla="*/ 1959620418 w 556"/>
                <a:gd name="T7" fmla="*/ 2147483647 h 501"/>
                <a:gd name="T8" fmla="*/ 1835417556 w 556"/>
                <a:gd name="T9" fmla="*/ 2147483647 h 501"/>
                <a:gd name="T10" fmla="*/ 1669816367 w 556"/>
                <a:gd name="T11" fmla="*/ 2147483647 h 501"/>
                <a:gd name="T12" fmla="*/ 1380014943 w 556"/>
                <a:gd name="T13" fmla="*/ 2147483647 h 501"/>
                <a:gd name="T14" fmla="*/ 1048809610 w 556"/>
                <a:gd name="T15" fmla="*/ 2147483647 h 501"/>
                <a:gd name="T16" fmla="*/ 986709492 w 556"/>
                <a:gd name="T17" fmla="*/ 2147483647 h 501"/>
                <a:gd name="T18" fmla="*/ 1090210564 w 556"/>
                <a:gd name="T19" fmla="*/ 2147483647 h 501"/>
                <a:gd name="T20" fmla="*/ 945308538 w 556"/>
                <a:gd name="T21" fmla="*/ 2147483647 h 501"/>
                <a:gd name="T22" fmla="*/ 759008186 w 556"/>
                <a:gd name="T23" fmla="*/ 2147483647 h 501"/>
                <a:gd name="T24" fmla="*/ 883208421 w 556"/>
                <a:gd name="T25" fmla="*/ 2132158701 h 501"/>
                <a:gd name="T26" fmla="*/ 1028110446 w 556"/>
                <a:gd name="T27" fmla="*/ 1800948256 h 501"/>
                <a:gd name="T28" fmla="*/ 1131611518 w 556"/>
                <a:gd name="T29" fmla="*/ 1987252818 h 501"/>
                <a:gd name="T30" fmla="*/ 1255811753 w 556"/>
                <a:gd name="T31" fmla="*/ 1718145645 h 501"/>
                <a:gd name="T32" fmla="*/ 1152310681 w 556"/>
                <a:gd name="T33" fmla="*/ 1304134888 h 501"/>
                <a:gd name="T34" fmla="*/ 1193711635 w 556"/>
                <a:gd name="T35" fmla="*/ 1117830326 h 501"/>
                <a:gd name="T36" fmla="*/ 1069511400 w 556"/>
                <a:gd name="T37" fmla="*/ 558913849 h 501"/>
                <a:gd name="T38" fmla="*/ 738306395 w 556"/>
                <a:gd name="T39" fmla="*/ 745221202 h 501"/>
                <a:gd name="T40" fmla="*/ 427803017 w 556"/>
                <a:gd name="T41" fmla="*/ 641716461 h 501"/>
                <a:gd name="T42" fmla="*/ 144902066 w 556"/>
                <a:gd name="T43" fmla="*/ 558913849 h 501"/>
                <a:gd name="T44" fmla="*/ 0 w 556"/>
                <a:gd name="T45" fmla="*/ 414010593 h 501"/>
                <a:gd name="T46" fmla="*/ 82801928 w 556"/>
                <a:gd name="T47" fmla="*/ 227705949 h 501"/>
                <a:gd name="T48" fmla="*/ 248403179 w 556"/>
                <a:gd name="T49" fmla="*/ 62100666 h 501"/>
                <a:gd name="T50" fmla="*/ 696908068 w 556"/>
                <a:gd name="T51" fmla="*/ 82802632 h 501"/>
                <a:gd name="T52" fmla="*/ 1276513543 w 556"/>
                <a:gd name="T53" fmla="*/ 496813204 h 501"/>
                <a:gd name="T54" fmla="*/ 1483516014 w 556"/>
                <a:gd name="T55" fmla="*/ 786622508 h 501"/>
                <a:gd name="T56" fmla="*/ 1690518157 w 556"/>
                <a:gd name="T57" fmla="*/ 1076429020 h 501"/>
                <a:gd name="T58" fmla="*/ 1731916484 w 556"/>
                <a:gd name="T59" fmla="*/ 1242034243 h 501"/>
                <a:gd name="T60" fmla="*/ 2104522443 w 556"/>
                <a:gd name="T61" fmla="*/ 1283435548 h 501"/>
                <a:gd name="T62" fmla="*/ 2147483647 w 556"/>
                <a:gd name="T63" fmla="*/ 1262733582 h 501"/>
                <a:gd name="T64" fmla="*/ 2147483647 w 556"/>
                <a:gd name="T65" fmla="*/ 1428339133 h 501"/>
                <a:gd name="T66" fmla="*/ 2147483647 w 556"/>
                <a:gd name="T67" fmla="*/ 1759546951 h 501"/>
                <a:gd name="T68" fmla="*/ 2147483647 w 556"/>
                <a:gd name="T69" fmla="*/ 1656045000 h 501"/>
                <a:gd name="T70" fmla="*/ 2147483647 w 556"/>
                <a:gd name="T71" fmla="*/ 1324836854 h 501"/>
                <a:gd name="T72" fmla="*/ 2147483647 w 556"/>
                <a:gd name="T73" fmla="*/ 1283435548 h 501"/>
                <a:gd name="T74" fmla="*/ 2147483647 w 556"/>
                <a:gd name="T75" fmla="*/ 1593944355 h 501"/>
                <a:gd name="T76" fmla="*/ 2147483647 w 556"/>
                <a:gd name="T77" fmla="*/ 1821650222 h 501"/>
                <a:gd name="T78" fmla="*/ 2147483647 w 556"/>
                <a:gd name="T79" fmla="*/ 2147483647 h 501"/>
                <a:gd name="T80" fmla="*/ 2147483647 w 556"/>
                <a:gd name="T81" fmla="*/ 2147483647 h 501"/>
                <a:gd name="T82" fmla="*/ 2147483647 w 556"/>
                <a:gd name="T83" fmla="*/ 2147483647 h 501"/>
                <a:gd name="T84" fmla="*/ 2147483647 w 556"/>
                <a:gd name="T85" fmla="*/ 2147483647 h 501"/>
                <a:gd name="T86" fmla="*/ 2147483647 w 556"/>
                <a:gd name="T87" fmla="*/ 2147483647 h 501"/>
                <a:gd name="T88" fmla="*/ 2147483647 w 556"/>
                <a:gd name="T89" fmla="*/ 2147483647 h 501"/>
                <a:gd name="T90" fmla="*/ 2147483647 w 556"/>
                <a:gd name="T91" fmla="*/ 2147483647 h 501"/>
                <a:gd name="T92" fmla="*/ 2147483647 w 556"/>
                <a:gd name="T93" fmla="*/ 2147483647 h 501"/>
                <a:gd name="T94" fmla="*/ 2147483647 w 556"/>
                <a:gd name="T95" fmla="*/ 2147483647 h 501"/>
                <a:gd name="T96" fmla="*/ 2147483647 w 556"/>
                <a:gd name="T97" fmla="*/ 2147483647 h 50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56"/>
                <a:gd name="T148" fmla="*/ 0 h 501"/>
                <a:gd name="T149" fmla="*/ 556 w 556"/>
                <a:gd name="T150" fmla="*/ 501 h 50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56" h="501">
                  <a:moveTo>
                    <a:pt x="403" y="501"/>
                  </a:moveTo>
                  <a:cubicBezTo>
                    <a:pt x="397" y="495"/>
                    <a:pt x="391" y="489"/>
                    <a:pt x="382" y="480"/>
                  </a:cubicBezTo>
                  <a:cubicBezTo>
                    <a:pt x="376" y="465"/>
                    <a:pt x="370" y="456"/>
                    <a:pt x="355" y="459"/>
                  </a:cubicBezTo>
                  <a:cubicBezTo>
                    <a:pt x="352" y="465"/>
                    <a:pt x="349" y="471"/>
                    <a:pt x="346" y="480"/>
                  </a:cubicBezTo>
                  <a:cubicBezTo>
                    <a:pt x="337" y="480"/>
                    <a:pt x="329" y="459"/>
                    <a:pt x="329" y="456"/>
                  </a:cubicBezTo>
                  <a:cubicBezTo>
                    <a:pt x="326" y="456"/>
                    <a:pt x="323" y="453"/>
                    <a:pt x="323" y="450"/>
                  </a:cubicBezTo>
                  <a:cubicBezTo>
                    <a:pt x="320" y="450"/>
                    <a:pt x="317" y="450"/>
                    <a:pt x="311" y="447"/>
                  </a:cubicBezTo>
                  <a:cubicBezTo>
                    <a:pt x="302" y="432"/>
                    <a:pt x="296" y="432"/>
                    <a:pt x="284" y="432"/>
                  </a:cubicBezTo>
                  <a:cubicBezTo>
                    <a:pt x="284" y="432"/>
                    <a:pt x="284" y="435"/>
                    <a:pt x="281" y="435"/>
                  </a:cubicBezTo>
                  <a:cubicBezTo>
                    <a:pt x="260" y="447"/>
                    <a:pt x="266" y="426"/>
                    <a:pt x="266" y="414"/>
                  </a:cubicBezTo>
                  <a:cubicBezTo>
                    <a:pt x="260" y="408"/>
                    <a:pt x="257" y="408"/>
                    <a:pt x="251" y="408"/>
                  </a:cubicBezTo>
                  <a:cubicBezTo>
                    <a:pt x="248" y="411"/>
                    <a:pt x="245" y="417"/>
                    <a:pt x="242" y="420"/>
                  </a:cubicBezTo>
                  <a:cubicBezTo>
                    <a:pt x="239" y="420"/>
                    <a:pt x="239" y="420"/>
                    <a:pt x="236" y="423"/>
                  </a:cubicBezTo>
                  <a:cubicBezTo>
                    <a:pt x="230" y="432"/>
                    <a:pt x="209" y="435"/>
                    <a:pt x="200" y="438"/>
                  </a:cubicBezTo>
                  <a:cubicBezTo>
                    <a:pt x="182" y="429"/>
                    <a:pt x="176" y="423"/>
                    <a:pt x="173" y="408"/>
                  </a:cubicBezTo>
                  <a:cubicBezTo>
                    <a:pt x="161" y="393"/>
                    <a:pt x="164" y="399"/>
                    <a:pt x="152" y="396"/>
                  </a:cubicBezTo>
                  <a:cubicBezTo>
                    <a:pt x="149" y="396"/>
                    <a:pt x="149" y="396"/>
                    <a:pt x="149" y="399"/>
                  </a:cubicBezTo>
                  <a:cubicBezTo>
                    <a:pt x="143" y="396"/>
                    <a:pt x="143" y="390"/>
                    <a:pt x="143" y="387"/>
                  </a:cubicBezTo>
                  <a:cubicBezTo>
                    <a:pt x="146" y="384"/>
                    <a:pt x="152" y="387"/>
                    <a:pt x="161" y="381"/>
                  </a:cubicBezTo>
                  <a:cubicBezTo>
                    <a:pt x="161" y="372"/>
                    <a:pt x="158" y="366"/>
                    <a:pt x="158" y="363"/>
                  </a:cubicBezTo>
                  <a:cubicBezTo>
                    <a:pt x="155" y="360"/>
                    <a:pt x="155" y="357"/>
                    <a:pt x="152" y="357"/>
                  </a:cubicBezTo>
                  <a:cubicBezTo>
                    <a:pt x="140" y="357"/>
                    <a:pt x="143" y="357"/>
                    <a:pt x="137" y="369"/>
                  </a:cubicBezTo>
                  <a:cubicBezTo>
                    <a:pt x="128" y="369"/>
                    <a:pt x="122" y="360"/>
                    <a:pt x="116" y="357"/>
                  </a:cubicBezTo>
                  <a:cubicBezTo>
                    <a:pt x="113" y="351"/>
                    <a:pt x="113" y="351"/>
                    <a:pt x="110" y="345"/>
                  </a:cubicBezTo>
                  <a:cubicBezTo>
                    <a:pt x="107" y="342"/>
                    <a:pt x="107" y="336"/>
                    <a:pt x="107" y="333"/>
                  </a:cubicBezTo>
                  <a:cubicBezTo>
                    <a:pt x="119" y="327"/>
                    <a:pt x="122" y="318"/>
                    <a:pt x="128" y="309"/>
                  </a:cubicBezTo>
                  <a:cubicBezTo>
                    <a:pt x="131" y="291"/>
                    <a:pt x="143" y="285"/>
                    <a:pt x="149" y="270"/>
                  </a:cubicBezTo>
                  <a:cubicBezTo>
                    <a:pt x="149" y="267"/>
                    <a:pt x="149" y="264"/>
                    <a:pt x="149" y="261"/>
                  </a:cubicBezTo>
                  <a:cubicBezTo>
                    <a:pt x="155" y="261"/>
                    <a:pt x="155" y="264"/>
                    <a:pt x="155" y="267"/>
                  </a:cubicBezTo>
                  <a:cubicBezTo>
                    <a:pt x="155" y="273"/>
                    <a:pt x="152" y="282"/>
                    <a:pt x="164" y="288"/>
                  </a:cubicBezTo>
                  <a:cubicBezTo>
                    <a:pt x="167" y="288"/>
                    <a:pt x="176" y="291"/>
                    <a:pt x="182" y="285"/>
                  </a:cubicBezTo>
                  <a:cubicBezTo>
                    <a:pt x="182" y="273"/>
                    <a:pt x="182" y="255"/>
                    <a:pt x="182" y="249"/>
                  </a:cubicBezTo>
                  <a:cubicBezTo>
                    <a:pt x="167" y="234"/>
                    <a:pt x="173" y="228"/>
                    <a:pt x="179" y="216"/>
                  </a:cubicBezTo>
                  <a:cubicBezTo>
                    <a:pt x="179" y="204"/>
                    <a:pt x="173" y="189"/>
                    <a:pt x="167" y="189"/>
                  </a:cubicBezTo>
                  <a:cubicBezTo>
                    <a:pt x="167" y="186"/>
                    <a:pt x="167" y="180"/>
                    <a:pt x="167" y="177"/>
                  </a:cubicBezTo>
                  <a:cubicBezTo>
                    <a:pt x="170" y="171"/>
                    <a:pt x="170" y="168"/>
                    <a:pt x="173" y="162"/>
                  </a:cubicBezTo>
                  <a:cubicBezTo>
                    <a:pt x="173" y="153"/>
                    <a:pt x="176" y="147"/>
                    <a:pt x="179" y="138"/>
                  </a:cubicBezTo>
                  <a:cubicBezTo>
                    <a:pt x="179" y="117"/>
                    <a:pt x="170" y="87"/>
                    <a:pt x="155" y="81"/>
                  </a:cubicBezTo>
                  <a:cubicBezTo>
                    <a:pt x="143" y="81"/>
                    <a:pt x="137" y="81"/>
                    <a:pt x="128" y="87"/>
                  </a:cubicBezTo>
                  <a:cubicBezTo>
                    <a:pt x="122" y="102"/>
                    <a:pt x="122" y="105"/>
                    <a:pt x="107" y="108"/>
                  </a:cubicBezTo>
                  <a:cubicBezTo>
                    <a:pt x="92" y="108"/>
                    <a:pt x="83" y="111"/>
                    <a:pt x="74" y="114"/>
                  </a:cubicBezTo>
                  <a:cubicBezTo>
                    <a:pt x="62" y="108"/>
                    <a:pt x="65" y="99"/>
                    <a:pt x="62" y="93"/>
                  </a:cubicBezTo>
                  <a:cubicBezTo>
                    <a:pt x="59" y="78"/>
                    <a:pt x="56" y="72"/>
                    <a:pt x="50" y="66"/>
                  </a:cubicBezTo>
                  <a:cubicBezTo>
                    <a:pt x="24" y="54"/>
                    <a:pt x="21" y="57"/>
                    <a:pt x="21" y="81"/>
                  </a:cubicBezTo>
                  <a:cubicBezTo>
                    <a:pt x="12" y="75"/>
                    <a:pt x="6" y="69"/>
                    <a:pt x="0" y="63"/>
                  </a:cubicBezTo>
                  <a:cubicBezTo>
                    <a:pt x="0" y="63"/>
                    <a:pt x="0" y="63"/>
                    <a:pt x="0" y="60"/>
                  </a:cubicBezTo>
                  <a:cubicBezTo>
                    <a:pt x="3" y="57"/>
                    <a:pt x="6" y="54"/>
                    <a:pt x="9" y="51"/>
                  </a:cubicBezTo>
                  <a:cubicBezTo>
                    <a:pt x="9" y="45"/>
                    <a:pt x="9" y="36"/>
                    <a:pt x="12" y="33"/>
                  </a:cubicBezTo>
                  <a:cubicBezTo>
                    <a:pt x="9" y="30"/>
                    <a:pt x="6" y="27"/>
                    <a:pt x="3" y="24"/>
                  </a:cubicBezTo>
                  <a:cubicBezTo>
                    <a:pt x="15" y="18"/>
                    <a:pt x="24" y="12"/>
                    <a:pt x="36" y="9"/>
                  </a:cubicBezTo>
                  <a:cubicBezTo>
                    <a:pt x="47" y="3"/>
                    <a:pt x="53" y="0"/>
                    <a:pt x="71" y="3"/>
                  </a:cubicBezTo>
                  <a:cubicBezTo>
                    <a:pt x="77" y="9"/>
                    <a:pt x="86" y="12"/>
                    <a:pt x="101" y="12"/>
                  </a:cubicBezTo>
                  <a:cubicBezTo>
                    <a:pt x="116" y="9"/>
                    <a:pt x="122" y="9"/>
                    <a:pt x="140" y="15"/>
                  </a:cubicBezTo>
                  <a:cubicBezTo>
                    <a:pt x="152" y="30"/>
                    <a:pt x="167" y="51"/>
                    <a:pt x="185" y="72"/>
                  </a:cubicBezTo>
                  <a:cubicBezTo>
                    <a:pt x="188" y="78"/>
                    <a:pt x="191" y="87"/>
                    <a:pt x="194" y="96"/>
                  </a:cubicBezTo>
                  <a:cubicBezTo>
                    <a:pt x="203" y="102"/>
                    <a:pt x="209" y="108"/>
                    <a:pt x="215" y="114"/>
                  </a:cubicBezTo>
                  <a:cubicBezTo>
                    <a:pt x="224" y="123"/>
                    <a:pt x="227" y="126"/>
                    <a:pt x="227" y="141"/>
                  </a:cubicBezTo>
                  <a:cubicBezTo>
                    <a:pt x="230" y="144"/>
                    <a:pt x="236" y="150"/>
                    <a:pt x="245" y="156"/>
                  </a:cubicBezTo>
                  <a:cubicBezTo>
                    <a:pt x="245" y="156"/>
                    <a:pt x="245" y="159"/>
                    <a:pt x="248" y="159"/>
                  </a:cubicBezTo>
                  <a:cubicBezTo>
                    <a:pt x="248" y="165"/>
                    <a:pt x="248" y="168"/>
                    <a:pt x="251" y="180"/>
                  </a:cubicBezTo>
                  <a:cubicBezTo>
                    <a:pt x="254" y="183"/>
                    <a:pt x="272" y="183"/>
                    <a:pt x="284" y="180"/>
                  </a:cubicBezTo>
                  <a:cubicBezTo>
                    <a:pt x="290" y="180"/>
                    <a:pt x="293" y="177"/>
                    <a:pt x="305" y="186"/>
                  </a:cubicBezTo>
                  <a:cubicBezTo>
                    <a:pt x="308" y="186"/>
                    <a:pt x="314" y="186"/>
                    <a:pt x="317" y="186"/>
                  </a:cubicBezTo>
                  <a:cubicBezTo>
                    <a:pt x="320" y="183"/>
                    <a:pt x="320" y="183"/>
                    <a:pt x="329" y="183"/>
                  </a:cubicBezTo>
                  <a:cubicBezTo>
                    <a:pt x="337" y="189"/>
                    <a:pt x="343" y="195"/>
                    <a:pt x="349" y="201"/>
                  </a:cubicBezTo>
                  <a:cubicBezTo>
                    <a:pt x="355" y="201"/>
                    <a:pt x="367" y="198"/>
                    <a:pt x="373" y="207"/>
                  </a:cubicBezTo>
                  <a:cubicBezTo>
                    <a:pt x="376" y="213"/>
                    <a:pt x="379" y="219"/>
                    <a:pt x="382" y="225"/>
                  </a:cubicBezTo>
                  <a:cubicBezTo>
                    <a:pt x="385" y="237"/>
                    <a:pt x="397" y="270"/>
                    <a:pt x="421" y="255"/>
                  </a:cubicBezTo>
                  <a:cubicBezTo>
                    <a:pt x="430" y="255"/>
                    <a:pt x="442" y="249"/>
                    <a:pt x="454" y="246"/>
                  </a:cubicBezTo>
                  <a:cubicBezTo>
                    <a:pt x="457" y="243"/>
                    <a:pt x="457" y="243"/>
                    <a:pt x="460" y="240"/>
                  </a:cubicBezTo>
                  <a:cubicBezTo>
                    <a:pt x="472" y="222"/>
                    <a:pt x="478" y="216"/>
                    <a:pt x="493" y="204"/>
                  </a:cubicBezTo>
                  <a:cubicBezTo>
                    <a:pt x="496" y="201"/>
                    <a:pt x="502" y="195"/>
                    <a:pt x="505" y="192"/>
                  </a:cubicBezTo>
                  <a:cubicBezTo>
                    <a:pt x="514" y="183"/>
                    <a:pt x="520" y="177"/>
                    <a:pt x="529" y="171"/>
                  </a:cubicBezTo>
                  <a:cubicBezTo>
                    <a:pt x="541" y="171"/>
                    <a:pt x="544" y="171"/>
                    <a:pt x="538" y="186"/>
                  </a:cubicBezTo>
                  <a:cubicBezTo>
                    <a:pt x="538" y="195"/>
                    <a:pt x="538" y="201"/>
                    <a:pt x="538" y="210"/>
                  </a:cubicBezTo>
                  <a:cubicBezTo>
                    <a:pt x="544" y="213"/>
                    <a:pt x="553" y="219"/>
                    <a:pt x="556" y="231"/>
                  </a:cubicBezTo>
                  <a:cubicBezTo>
                    <a:pt x="553" y="237"/>
                    <a:pt x="553" y="243"/>
                    <a:pt x="553" y="252"/>
                  </a:cubicBezTo>
                  <a:cubicBezTo>
                    <a:pt x="550" y="255"/>
                    <a:pt x="550" y="261"/>
                    <a:pt x="547" y="264"/>
                  </a:cubicBezTo>
                  <a:cubicBezTo>
                    <a:pt x="541" y="270"/>
                    <a:pt x="544" y="282"/>
                    <a:pt x="547" y="294"/>
                  </a:cubicBezTo>
                  <a:cubicBezTo>
                    <a:pt x="544" y="306"/>
                    <a:pt x="544" y="315"/>
                    <a:pt x="544" y="327"/>
                  </a:cubicBezTo>
                  <a:cubicBezTo>
                    <a:pt x="544" y="333"/>
                    <a:pt x="541" y="342"/>
                    <a:pt x="541" y="348"/>
                  </a:cubicBezTo>
                  <a:cubicBezTo>
                    <a:pt x="541" y="354"/>
                    <a:pt x="541" y="363"/>
                    <a:pt x="541" y="369"/>
                  </a:cubicBezTo>
                  <a:cubicBezTo>
                    <a:pt x="538" y="372"/>
                    <a:pt x="535" y="375"/>
                    <a:pt x="532" y="378"/>
                  </a:cubicBezTo>
                  <a:cubicBezTo>
                    <a:pt x="526" y="378"/>
                    <a:pt x="523" y="378"/>
                    <a:pt x="520" y="378"/>
                  </a:cubicBezTo>
                  <a:cubicBezTo>
                    <a:pt x="505" y="375"/>
                    <a:pt x="502" y="375"/>
                    <a:pt x="493" y="375"/>
                  </a:cubicBezTo>
                  <a:cubicBezTo>
                    <a:pt x="487" y="378"/>
                    <a:pt x="487" y="384"/>
                    <a:pt x="484" y="387"/>
                  </a:cubicBezTo>
                  <a:cubicBezTo>
                    <a:pt x="469" y="393"/>
                    <a:pt x="466" y="396"/>
                    <a:pt x="469" y="411"/>
                  </a:cubicBezTo>
                  <a:cubicBezTo>
                    <a:pt x="472" y="417"/>
                    <a:pt x="475" y="420"/>
                    <a:pt x="478" y="426"/>
                  </a:cubicBezTo>
                  <a:cubicBezTo>
                    <a:pt x="478" y="438"/>
                    <a:pt x="487" y="453"/>
                    <a:pt x="496" y="471"/>
                  </a:cubicBezTo>
                  <a:cubicBezTo>
                    <a:pt x="496" y="477"/>
                    <a:pt x="499" y="483"/>
                    <a:pt x="499" y="492"/>
                  </a:cubicBezTo>
                  <a:cubicBezTo>
                    <a:pt x="481" y="492"/>
                    <a:pt x="472" y="477"/>
                    <a:pt x="466" y="474"/>
                  </a:cubicBezTo>
                  <a:cubicBezTo>
                    <a:pt x="466" y="462"/>
                    <a:pt x="454" y="459"/>
                    <a:pt x="451" y="462"/>
                  </a:cubicBezTo>
                  <a:cubicBezTo>
                    <a:pt x="451" y="465"/>
                    <a:pt x="451" y="465"/>
                    <a:pt x="451" y="468"/>
                  </a:cubicBezTo>
                  <a:cubicBezTo>
                    <a:pt x="439" y="468"/>
                    <a:pt x="430" y="474"/>
                    <a:pt x="421" y="480"/>
                  </a:cubicBezTo>
                  <a:cubicBezTo>
                    <a:pt x="421" y="483"/>
                    <a:pt x="421" y="486"/>
                    <a:pt x="421" y="489"/>
                  </a:cubicBezTo>
                  <a:cubicBezTo>
                    <a:pt x="421" y="489"/>
                    <a:pt x="421" y="489"/>
                    <a:pt x="424" y="489"/>
                  </a:cubicBezTo>
                  <a:cubicBezTo>
                    <a:pt x="418" y="492"/>
                    <a:pt x="415" y="495"/>
                    <a:pt x="412" y="498"/>
                  </a:cubicBezTo>
                  <a:cubicBezTo>
                    <a:pt x="409" y="498"/>
                    <a:pt x="406" y="501"/>
                    <a:pt x="403" y="501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7687680" y="2187633"/>
              <a:ext cx="248460" cy="157484"/>
            </a:xfrm>
            <a:custGeom>
              <a:avLst/>
              <a:gdLst>
                <a:gd name="T0" fmla="*/ 1448035001 w 425"/>
                <a:gd name="T1" fmla="*/ 1740923368 h 273"/>
                <a:gd name="T2" fmla="*/ 1406663792 w 425"/>
                <a:gd name="T3" fmla="*/ 1512944956 h 273"/>
                <a:gd name="T4" fmla="*/ 1241173374 w 425"/>
                <a:gd name="T5" fmla="*/ 1305691048 h 273"/>
                <a:gd name="T6" fmla="*/ 1220486456 w 425"/>
                <a:gd name="T7" fmla="*/ 1160614593 h 273"/>
                <a:gd name="T8" fmla="*/ 1075683284 w 425"/>
                <a:gd name="T9" fmla="*/ 1243516551 h 273"/>
                <a:gd name="T10" fmla="*/ 889508903 w 425"/>
                <a:gd name="T11" fmla="*/ 1077715264 h 273"/>
                <a:gd name="T12" fmla="*/ 579215478 w 425"/>
                <a:gd name="T13" fmla="*/ 683932772 h 273"/>
                <a:gd name="T14" fmla="*/ 537841642 w 425"/>
                <a:gd name="T15" fmla="*/ 642483108 h 273"/>
                <a:gd name="T16" fmla="*/ 372351553 w 425"/>
                <a:gd name="T17" fmla="*/ 829012020 h 273"/>
                <a:gd name="T18" fmla="*/ 248235216 w 425"/>
                <a:gd name="T19" fmla="*/ 559581150 h 273"/>
                <a:gd name="T20" fmla="*/ 82745065 w 425"/>
                <a:gd name="T21" fmla="*/ 269428159 h 273"/>
                <a:gd name="T22" fmla="*/ 82745065 w 425"/>
                <a:gd name="T23" fmla="*/ 145076496 h 273"/>
                <a:gd name="T24" fmla="*/ 434409680 w 425"/>
                <a:gd name="T25" fmla="*/ 124351663 h 273"/>
                <a:gd name="T26" fmla="*/ 848135068 w 425"/>
                <a:gd name="T27" fmla="*/ 331605284 h 273"/>
                <a:gd name="T28" fmla="*/ 1220486456 w 425"/>
                <a:gd name="T29" fmla="*/ 124351663 h 273"/>
                <a:gd name="T30" fmla="*/ 1344605336 w 425"/>
                <a:gd name="T31" fmla="*/ 331605284 h 273"/>
                <a:gd name="T32" fmla="*/ 1572153881 w 425"/>
                <a:gd name="T33" fmla="*/ 393779863 h 273"/>
                <a:gd name="T34" fmla="*/ 1813493376 w 425"/>
                <a:gd name="T35" fmla="*/ 621758275 h 273"/>
                <a:gd name="T36" fmla="*/ 1916922713 w 425"/>
                <a:gd name="T37" fmla="*/ 455956989 h 273"/>
                <a:gd name="T38" fmla="*/ 2123786638 w 425"/>
                <a:gd name="T39" fmla="*/ 663207940 h 273"/>
                <a:gd name="T40" fmla="*/ 2147483647 w 425"/>
                <a:gd name="T41" fmla="*/ 746110062 h 273"/>
                <a:gd name="T42" fmla="*/ 2147483647 w 425"/>
                <a:gd name="T43" fmla="*/ 683932772 h 273"/>
                <a:gd name="T44" fmla="*/ 2147483647 w 425"/>
                <a:gd name="T45" fmla="*/ 621758275 h 273"/>
                <a:gd name="T46" fmla="*/ 2147483647 w 425"/>
                <a:gd name="T47" fmla="*/ 538856318 h 273"/>
                <a:gd name="T48" fmla="*/ 2147483647 w 425"/>
                <a:gd name="T49" fmla="*/ 497406653 h 273"/>
                <a:gd name="T50" fmla="*/ 2147483647 w 425"/>
                <a:gd name="T51" fmla="*/ 683932772 h 273"/>
                <a:gd name="T52" fmla="*/ 2147483647 w 425"/>
                <a:gd name="T53" fmla="*/ 891186517 h 273"/>
                <a:gd name="T54" fmla="*/ 2147483647 w 425"/>
                <a:gd name="T55" fmla="*/ 1098440096 h 273"/>
                <a:gd name="T56" fmla="*/ 2147483647 w 425"/>
                <a:gd name="T57" fmla="*/ 1077715264 h 273"/>
                <a:gd name="T58" fmla="*/ 2147483647 w 425"/>
                <a:gd name="T59" fmla="*/ 932636181 h 273"/>
                <a:gd name="T60" fmla="*/ 2147483647 w 425"/>
                <a:gd name="T61" fmla="*/ 1202066886 h 273"/>
                <a:gd name="T62" fmla="*/ 2147483647 w 425"/>
                <a:gd name="T63" fmla="*/ 1450767831 h 273"/>
                <a:gd name="T64" fmla="*/ 2147483647 w 425"/>
                <a:gd name="T65" fmla="*/ 1595846914 h 273"/>
                <a:gd name="T66" fmla="*/ 1772119541 w 425"/>
                <a:gd name="T67" fmla="*/ 1616571746 h 273"/>
                <a:gd name="T68" fmla="*/ 1675583218 w 425"/>
                <a:gd name="T69" fmla="*/ 1865274991 h 27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25"/>
                <a:gd name="T106" fmla="*/ 0 h 273"/>
                <a:gd name="T107" fmla="*/ 425 w 425"/>
                <a:gd name="T108" fmla="*/ 273 h 27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25" h="273">
                  <a:moveTo>
                    <a:pt x="237" y="273"/>
                  </a:moveTo>
                  <a:cubicBezTo>
                    <a:pt x="231" y="264"/>
                    <a:pt x="216" y="255"/>
                    <a:pt x="210" y="252"/>
                  </a:cubicBezTo>
                  <a:cubicBezTo>
                    <a:pt x="210" y="249"/>
                    <a:pt x="207" y="249"/>
                    <a:pt x="207" y="246"/>
                  </a:cubicBezTo>
                  <a:cubicBezTo>
                    <a:pt x="207" y="234"/>
                    <a:pt x="210" y="228"/>
                    <a:pt x="204" y="219"/>
                  </a:cubicBezTo>
                  <a:cubicBezTo>
                    <a:pt x="195" y="210"/>
                    <a:pt x="195" y="210"/>
                    <a:pt x="192" y="204"/>
                  </a:cubicBezTo>
                  <a:cubicBezTo>
                    <a:pt x="189" y="198"/>
                    <a:pt x="183" y="195"/>
                    <a:pt x="180" y="189"/>
                  </a:cubicBezTo>
                  <a:cubicBezTo>
                    <a:pt x="177" y="189"/>
                    <a:pt x="177" y="189"/>
                    <a:pt x="177" y="189"/>
                  </a:cubicBezTo>
                  <a:cubicBezTo>
                    <a:pt x="177" y="183"/>
                    <a:pt x="177" y="174"/>
                    <a:pt x="177" y="168"/>
                  </a:cubicBezTo>
                  <a:cubicBezTo>
                    <a:pt x="171" y="162"/>
                    <a:pt x="168" y="162"/>
                    <a:pt x="165" y="162"/>
                  </a:cubicBezTo>
                  <a:cubicBezTo>
                    <a:pt x="159" y="168"/>
                    <a:pt x="159" y="171"/>
                    <a:pt x="156" y="180"/>
                  </a:cubicBezTo>
                  <a:cubicBezTo>
                    <a:pt x="156" y="177"/>
                    <a:pt x="153" y="177"/>
                    <a:pt x="153" y="177"/>
                  </a:cubicBezTo>
                  <a:cubicBezTo>
                    <a:pt x="144" y="171"/>
                    <a:pt x="135" y="159"/>
                    <a:pt x="129" y="156"/>
                  </a:cubicBezTo>
                  <a:cubicBezTo>
                    <a:pt x="102" y="153"/>
                    <a:pt x="102" y="144"/>
                    <a:pt x="99" y="126"/>
                  </a:cubicBezTo>
                  <a:cubicBezTo>
                    <a:pt x="93" y="114"/>
                    <a:pt x="87" y="105"/>
                    <a:pt x="84" y="99"/>
                  </a:cubicBezTo>
                  <a:cubicBezTo>
                    <a:pt x="84" y="96"/>
                    <a:pt x="81" y="96"/>
                    <a:pt x="81" y="93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72" y="96"/>
                    <a:pt x="66" y="102"/>
                    <a:pt x="63" y="105"/>
                  </a:cubicBezTo>
                  <a:cubicBezTo>
                    <a:pt x="60" y="108"/>
                    <a:pt x="57" y="114"/>
                    <a:pt x="54" y="120"/>
                  </a:cubicBezTo>
                  <a:cubicBezTo>
                    <a:pt x="42" y="111"/>
                    <a:pt x="45" y="99"/>
                    <a:pt x="42" y="93"/>
                  </a:cubicBezTo>
                  <a:cubicBezTo>
                    <a:pt x="39" y="90"/>
                    <a:pt x="36" y="84"/>
                    <a:pt x="36" y="81"/>
                  </a:cubicBezTo>
                  <a:cubicBezTo>
                    <a:pt x="36" y="75"/>
                    <a:pt x="36" y="69"/>
                    <a:pt x="36" y="63"/>
                  </a:cubicBezTo>
                  <a:cubicBezTo>
                    <a:pt x="27" y="51"/>
                    <a:pt x="18" y="45"/>
                    <a:pt x="12" y="39"/>
                  </a:cubicBezTo>
                  <a:cubicBezTo>
                    <a:pt x="0" y="39"/>
                    <a:pt x="9" y="24"/>
                    <a:pt x="9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21" y="27"/>
                    <a:pt x="30" y="36"/>
                    <a:pt x="45" y="36"/>
                  </a:cubicBezTo>
                  <a:cubicBezTo>
                    <a:pt x="51" y="30"/>
                    <a:pt x="57" y="21"/>
                    <a:pt x="63" y="18"/>
                  </a:cubicBezTo>
                  <a:cubicBezTo>
                    <a:pt x="72" y="6"/>
                    <a:pt x="78" y="0"/>
                    <a:pt x="87" y="15"/>
                  </a:cubicBezTo>
                  <a:cubicBezTo>
                    <a:pt x="90" y="30"/>
                    <a:pt x="105" y="42"/>
                    <a:pt x="123" y="48"/>
                  </a:cubicBezTo>
                  <a:cubicBezTo>
                    <a:pt x="132" y="45"/>
                    <a:pt x="144" y="42"/>
                    <a:pt x="153" y="39"/>
                  </a:cubicBezTo>
                  <a:cubicBezTo>
                    <a:pt x="159" y="30"/>
                    <a:pt x="168" y="24"/>
                    <a:pt x="177" y="18"/>
                  </a:cubicBezTo>
                  <a:cubicBezTo>
                    <a:pt x="177" y="18"/>
                    <a:pt x="177" y="18"/>
                    <a:pt x="180" y="21"/>
                  </a:cubicBezTo>
                  <a:cubicBezTo>
                    <a:pt x="180" y="30"/>
                    <a:pt x="174" y="48"/>
                    <a:pt x="195" y="48"/>
                  </a:cubicBezTo>
                  <a:cubicBezTo>
                    <a:pt x="198" y="48"/>
                    <a:pt x="201" y="45"/>
                    <a:pt x="204" y="45"/>
                  </a:cubicBezTo>
                  <a:cubicBezTo>
                    <a:pt x="213" y="36"/>
                    <a:pt x="219" y="48"/>
                    <a:pt x="228" y="57"/>
                  </a:cubicBezTo>
                  <a:cubicBezTo>
                    <a:pt x="231" y="57"/>
                    <a:pt x="237" y="57"/>
                    <a:pt x="240" y="60"/>
                  </a:cubicBezTo>
                  <a:cubicBezTo>
                    <a:pt x="243" y="66"/>
                    <a:pt x="251" y="81"/>
                    <a:pt x="263" y="90"/>
                  </a:cubicBezTo>
                  <a:cubicBezTo>
                    <a:pt x="263" y="90"/>
                    <a:pt x="266" y="90"/>
                    <a:pt x="269" y="90"/>
                  </a:cubicBezTo>
                  <a:cubicBezTo>
                    <a:pt x="275" y="81"/>
                    <a:pt x="278" y="75"/>
                    <a:pt x="278" y="66"/>
                  </a:cubicBezTo>
                  <a:cubicBezTo>
                    <a:pt x="281" y="66"/>
                    <a:pt x="284" y="69"/>
                    <a:pt x="287" y="69"/>
                  </a:cubicBezTo>
                  <a:cubicBezTo>
                    <a:pt x="290" y="78"/>
                    <a:pt x="296" y="87"/>
                    <a:pt x="308" y="96"/>
                  </a:cubicBezTo>
                  <a:cubicBezTo>
                    <a:pt x="308" y="96"/>
                    <a:pt x="308" y="96"/>
                    <a:pt x="308" y="96"/>
                  </a:cubicBezTo>
                  <a:cubicBezTo>
                    <a:pt x="311" y="102"/>
                    <a:pt x="317" y="105"/>
                    <a:pt x="320" y="108"/>
                  </a:cubicBezTo>
                  <a:cubicBezTo>
                    <a:pt x="326" y="108"/>
                    <a:pt x="332" y="108"/>
                    <a:pt x="335" y="108"/>
                  </a:cubicBezTo>
                  <a:cubicBezTo>
                    <a:pt x="338" y="105"/>
                    <a:pt x="341" y="102"/>
                    <a:pt x="344" y="99"/>
                  </a:cubicBezTo>
                  <a:cubicBezTo>
                    <a:pt x="350" y="96"/>
                    <a:pt x="350" y="96"/>
                    <a:pt x="350" y="96"/>
                  </a:cubicBezTo>
                  <a:cubicBezTo>
                    <a:pt x="350" y="93"/>
                    <a:pt x="350" y="93"/>
                    <a:pt x="350" y="90"/>
                  </a:cubicBezTo>
                  <a:cubicBezTo>
                    <a:pt x="347" y="90"/>
                    <a:pt x="347" y="90"/>
                    <a:pt x="347" y="90"/>
                  </a:cubicBezTo>
                  <a:cubicBezTo>
                    <a:pt x="347" y="84"/>
                    <a:pt x="359" y="81"/>
                    <a:pt x="365" y="78"/>
                  </a:cubicBezTo>
                  <a:cubicBezTo>
                    <a:pt x="368" y="78"/>
                    <a:pt x="371" y="75"/>
                    <a:pt x="371" y="75"/>
                  </a:cubicBezTo>
                  <a:cubicBezTo>
                    <a:pt x="374" y="75"/>
                    <a:pt x="374" y="72"/>
                    <a:pt x="374" y="72"/>
                  </a:cubicBezTo>
                  <a:cubicBezTo>
                    <a:pt x="380" y="72"/>
                    <a:pt x="377" y="81"/>
                    <a:pt x="389" y="87"/>
                  </a:cubicBezTo>
                  <a:cubicBezTo>
                    <a:pt x="395" y="90"/>
                    <a:pt x="401" y="96"/>
                    <a:pt x="407" y="99"/>
                  </a:cubicBezTo>
                  <a:cubicBezTo>
                    <a:pt x="413" y="99"/>
                    <a:pt x="419" y="102"/>
                    <a:pt x="422" y="102"/>
                  </a:cubicBezTo>
                  <a:cubicBezTo>
                    <a:pt x="422" y="108"/>
                    <a:pt x="425" y="123"/>
                    <a:pt x="419" y="129"/>
                  </a:cubicBezTo>
                  <a:cubicBezTo>
                    <a:pt x="416" y="132"/>
                    <a:pt x="416" y="138"/>
                    <a:pt x="413" y="141"/>
                  </a:cubicBezTo>
                  <a:cubicBezTo>
                    <a:pt x="413" y="147"/>
                    <a:pt x="410" y="153"/>
                    <a:pt x="410" y="159"/>
                  </a:cubicBezTo>
                  <a:cubicBezTo>
                    <a:pt x="407" y="159"/>
                    <a:pt x="407" y="159"/>
                    <a:pt x="404" y="159"/>
                  </a:cubicBezTo>
                  <a:cubicBezTo>
                    <a:pt x="404" y="150"/>
                    <a:pt x="392" y="156"/>
                    <a:pt x="392" y="156"/>
                  </a:cubicBezTo>
                  <a:cubicBezTo>
                    <a:pt x="389" y="156"/>
                    <a:pt x="389" y="156"/>
                    <a:pt x="389" y="156"/>
                  </a:cubicBezTo>
                  <a:cubicBezTo>
                    <a:pt x="389" y="147"/>
                    <a:pt x="389" y="141"/>
                    <a:pt x="389" y="135"/>
                  </a:cubicBezTo>
                  <a:cubicBezTo>
                    <a:pt x="380" y="120"/>
                    <a:pt x="371" y="126"/>
                    <a:pt x="365" y="138"/>
                  </a:cubicBezTo>
                  <a:cubicBezTo>
                    <a:pt x="362" y="150"/>
                    <a:pt x="353" y="162"/>
                    <a:pt x="350" y="174"/>
                  </a:cubicBezTo>
                  <a:cubicBezTo>
                    <a:pt x="347" y="177"/>
                    <a:pt x="347" y="180"/>
                    <a:pt x="344" y="183"/>
                  </a:cubicBezTo>
                  <a:cubicBezTo>
                    <a:pt x="323" y="198"/>
                    <a:pt x="311" y="177"/>
                    <a:pt x="314" y="210"/>
                  </a:cubicBezTo>
                  <a:cubicBezTo>
                    <a:pt x="317" y="213"/>
                    <a:pt x="323" y="219"/>
                    <a:pt x="326" y="222"/>
                  </a:cubicBezTo>
                  <a:cubicBezTo>
                    <a:pt x="326" y="225"/>
                    <a:pt x="320" y="231"/>
                    <a:pt x="320" y="231"/>
                  </a:cubicBezTo>
                  <a:cubicBezTo>
                    <a:pt x="308" y="234"/>
                    <a:pt x="287" y="231"/>
                    <a:pt x="281" y="231"/>
                  </a:cubicBezTo>
                  <a:cubicBezTo>
                    <a:pt x="269" y="219"/>
                    <a:pt x="263" y="225"/>
                    <a:pt x="257" y="234"/>
                  </a:cubicBezTo>
                  <a:cubicBezTo>
                    <a:pt x="251" y="243"/>
                    <a:pt x="249" y="255"/>
                    <a:pt x="246" y="264"/>
                  </a:cubicBezTo>
                  <a:cubicBezTo>
                    <a:pt x="243" y="267"/>
                    <a:pt x="243" y="270"/>
                    <a:pt x="243" y="270"/>
                  </a:cubicBezTo>
                  <a:cubicBezTo>
                    <a:pt x="240" y="270"/>
                    <a:pt x="240" y="270"/>
                    <a:pt x="237" y="273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9" name="Freeform 8"/>
            <p:cNvSpPr>
              <a:spLocks/>
            </p:cNvSpPr>
            <p:nvPr/>
          </p:nvSpPr>
          <p:spPr bwMode="auto">
            <a:xfrm>
              <a:off x="6506168" y="2095999"/>
              <a:ext cx="578916" cy="436914"/>
            </a:xfrm>
            <a:custGeom>
              <a:avLst/>
              <a:gdLst>
                <a:gd name="T0" fmla="*/ 2147483647 w 990"/>
                <a:gd name="T1" fmla="*/ 2147483647 h 758"/>
                <a:gd name="T2" fmla="*/ 2147483647 w 990"/>
                <a:gd name="T3" fmla="*/ 2147483647 h 758"/>
                <a:gd name="T4" fmla="*/ 2147483647 w 990"/>
                <a:gd name="T5" fmla="*/ 2147483647 h 758"/>
                <a:gd name="T6" fmla="*/ 2147483647 w 990"/>
                <a:gd name="T7" fmla="*/ 2147483647 h 758"/>
                <a:gd name="T8" fmla="*/ 2147483647 w 990"/>
                <a:gd name="T9" fmla="*/ 2147483647 h 758"/>
                <a:gd name="T10" fmla="*/ 2147483647 w 990"/>
                <a:gd name="T11" fmla="*/ 2147483647 h 758"/>
                <a:gd name="T12" fmla="*/ 2147483647 w 990"/>
                <a:gd name="T13" fmla="*/ 2147483647 h 758"/>
                <a:gd name="T14" fmla="*/ 1938613384 w 990"/>
                <a:gd name="T15" fmla="*/ 2147483647 h 758"/>
                <a:gd name="T16" fmla="*/ 1262512963 w 990"/>
                <a:gd name="T17" fmla="*/ 2147483647 h 758"/>
                <a:gd name="T18" fmla="*/ 931362969 w 990"/>
                <a:gd name="T19" fmla="*/ 2147483647 h 758"/>
                <a:gd name="T20" fmla="*/ 889967907 w 990"/>
                <a:gd name="T21" fmla="*/ 2147483647 h 758"/>
                <a:gd name="T22" fmla="*/ 538120217 w 990"/>
                <a:gd name="T23" fmla="*/ 2147483647 h 758"/>
                <a:gd name="T24" fmla="*/ 310455171 w 990"/>
                <a:gd name="T25" fmla="*/ 2147483647 h 758"/>
                <a:gd name="T26" fmla="*/ 248362577 w 990"/>
                <a:gd name="T27" fmla="*/ 2147483647 h 758"/>
                <a:gd name="T28" fmla="*/ 82787519 w 990"/>
                <a:gd name="T29" fmla="*/ 2147483647 h 758"/>
                <a:gd name="T30" fmla="*/ 20697536 w 990"/>
                <a:gd name="T31" fmla="*/ 2147483647 h 758"/>
                <a:gd name="T32" fmla="*/ 144877507 w 990"/>
                <a:gd name="T33" fmla="*/ 2147483647 h 758"/>
                <a:gd name="T34" fmla="*/ 745090441 w 990"/>
                <a:gd name="T35" fmla="*/ 2147483647 h 758"/>
                <a:gd name="T36" fmla="*/ 1076240435 w 990"/>
                <a:gd name="T37" fmla="*/ 2147483647 h 758"/>
                <a:gd name="T38" fmla="*/ 1448785819 w 990"/>
                <a:gd name="T39" fmla="*/ 2147483647 h 758"/>
                <a:gd name="T40" fmla="*/ 2042098414 w 990"/>
                <a:gd name="T41" fmla="*/ 2147483647 h 758"/>
                <a:gd name="T42" fmla="*/ 2147483647 w 990"/>
                <a:gd name="T43" fmla="*/ 1903676785 h 758"/>
                <a:gd name="T44" fmla="*/ 2147483647 w 990"/>
                <a:gd name="T45" fmla="*/ 1531219611 h 758"/>
                <a:gd name="T46" fmla="*/ 2147483647 w 990"/>
                <a:gd name="T47" fmla="*/ 1138066979 h 758"/>
                <a:gd name="T48" fmla="*/ 2147483647 w 990"/>
                <a:gd name="T49" fmla="*/ 1241529494 h 758"/>
                <a:gd name="T50" fmla="*/ 2147483647 w 990"/>
                <a:gd name="T51" fmla="*/ 972529582 h 758"/>
                <a:gd name="T52" fmla="*/ 2147483647 w 990"/>
                <a:gd name="T53" fmla="*/ 517302232 h 758"/>
                <a:gd name="T54" fmla="*/ 2147483647 w 990"/>
                <a:gd name="T55" fmla="*/ 620764747 h 758"/>
                <a:gd name="T56" fmla="*/ 2147483647 w 990"/>
                <a:gd name="T57" fmla="*/ 62077529 h 758"/>
                <a:gd name="T58" fmla="*/ 2147483647 w 990"/>
                <a:gd name="T59" fmla="*/ 206922485 h 758"/>
                <a:gd name="T60" fmla="*/ 2147483647 w 990"/>
                <a:gd name="T61" fmla="*/ 579379741 h 758"/>
                <a:gd name="T62" fmla="*/ 2147483647 w 990"/>
                <a:gd name="T63" fmla="*/ 972529582 h 758"/>
                <a:gd name="T64" fmla="*/ 2147483647 w 990"/>
                <a:gd name="T65" fmla="*/ 1613986996 h 758"/>
                <a:gd name="T66" fmla="*/ 2147483647 w 990"/>
                <a:gd name="T67" fmla="*/ 1820909399 h 758"/>
                <a:gd name="T68" fmla="*/ 2147483647 w 990"/>
                <a:gd name="T69" fmla="*/ 2147483647 h 758"/>
                <a:gd name="T70" fmla="*/ 2147483647 w 990"/>
                <a:gd name="T71" fmla="*/ 2147483647 h 758"/>
                <a:gd name="T72" fmla="*/ 2147483647 w 990"/>
                <a:gd name="T73" fmla="*/ 2147483647 h 758"/>
                <a:gd name="T74" fmla="*/ 2147483647 w 990"/>
                <a:gd name="T75" fmla="*/ 2147483647 h 758"/>
                <a:gd name="T76" fmla="*/ 2147483647 w 990"/>
                <a:gd name="T77" fmla="*/ 2147483647 h 758"/>
                <a:gd name="T78" fmla="*/ 2147483647 w 990"/>
                <a:gd name="T79" fmla="*/ 2147483647 h 758"/>
                <a:gd name="T80" fmla="*/ 2147483647 w 990"/>
                <a:gd name="T81" fmla="*/ 2147483647 h 758"/>
                <a:gd name="T82" fmla="*/ 2147483647 w 990"/>
                <a:gd name="T83" fmla="*/ 2147483647 h 758"/>
                <a:gd name="T84" fmla="*/ 2147483647 w 990"/>
                <a:gd name="T85" fmla="*/ 2147483647 h 758"/>
                <a:gd name="T86" fmla="*/ 2147483647 w 990"/>
                <a:gd name="T87" fmla="*/ 2147483647 h 7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990"/>
                <a:gd name="T133" fmla="*/ 0 h 758"/>
                <a:gd name="T134" fmla="*/ 990 w 990"/>
                <a:gd name="T135" fmla="*/ 758 h 75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990" h="758">
                  <a:moveTo>
                    <a:pt x="709" y="758"/>
                  </a:moveTo>
                  <a:cubicBezTo>
                    <a:pt x="706" y="755"/>
                    <a:pt x="703" y="755"/>
                    <a:pt x="700" y="755"/>
                  </a:cubicBezTo>
                  <a:cubicBezTo>
                    <a:pt x="697" y="749"/>
                    <a:pt x="694" y="746"/>
                    <a:pt x="688" y="743"/>
                  </a:cubicBezTo>
                  <a:cubicBezTo>
                    <a:pt x="676" y="743"/>
                    <a:pt x="676" y="740"/>
                    <a:pt x="670" y="752"/>
                  </a:cubicBezTo>
                  <a:cubicBezTo>
                    <a:pt x="667" y="749"/>
                    <a:pt x="667" y="749"/>
                    <a:pt x="664" y="749"/>
                  </a:cubicBezTo>
                  <a:cubicBezTo>
                    <a:pt x="661" y="749"/>
                    <a:pt x="655" y="749"/>
                    <a:pt x="652" y="752"/>
                  </a:cubicBezTo>
                  <a:cubicBezTo>
                    <a:pt x="646" y="743"/>
                    <a:pt x="649" y="737"/>
                    <a:pt x="646" y="734"/>
                  </a:cubicBezTo>
                  <a:cubicBezTo>
                    <a:pt x="643" y="731"/>
                    <a:pt x="640" y="731"/>
                    <a:pt x="637" y="728"/>
                  </a:cubicBezTo>
                  <a:cubicBezTo>
                    <a:pt x="622" y="713"/>
                    <a:pt x="610" y="704"/>
                    <a:pt x="592" y="713"/>
                  </a:cubicBezTo>
                  <a:cubicBezTo>
                    <a:pt x="577" y="713"/>
                    <a:pt x="565" y="716"/>
                    <a:pt x="553" y="713"/>
                  </a:cubicBezTo>
                  <a:cubicBezTo>
                    <a:pt x="547" y="713"/>
                    <a:pt x="542" y="710"/>
                    <a:pt x="536" y="707"/>
                  </a:cubicBezTo>
                  <a:cubicBezTo>
                    <a:pt x="530" y="707"/>
                    <a:pt x="524" y="707"/>
                    <a:pt x="521" y="707"/>
                  </a:cubicBezTo>
                  <a:cubicBezTo>
                    <a:pt x="509" y="716"/>
                    <a:pt x="494" y="722"/>
                    <a:pt x="488" y="734"/>
                  </a:cubicBezTo>
                  <a:cubicBezTo>
                    <a:pt x="482" y="734"/>
                    <a:pt x="476" y="734"/>
                    <a:pt x="470" y="734"/>
                  </a:cubicBezTo>
                  <a:cubicBezTo>
                    <a:pt x="464" y="731"/>
                    <a:pt x="461" y="728"/>
                    <a:pt x="455" y="725"/>
                  </a:cubicBezTo>
                  <a:cubicBezTo>
                    <a:pt x="443" y="725"/>
                    <a:pt x="440" y="725"/>
                    <a:pt x="437" y="728"/>
                  </a:cubicBezTo>
                  <a:cubicBezTo>
                    <a:pt x="431" y="731"/>
                    <a:pt x="428" y="731"/>
                    <a:pt x="422" y="734"/>
                  </a:cubicBezTo>
                  <a:cubicBezTo>
                    <a:pt x="410" y="734"/>
                    <a:pt x="404" y="737"/>
                    <a:pt x="395" y="740"/>
                  </a:cubicBezTo>
                  <a:cubicBezTo>
                    <a:pt x="380" y="740"/>
                    <a:pt x="359" y="731"/>
                    <a:pt x="356" y="725"/>
                  </a:cubicBezTo>
                  <a:cubicBezTo>
                    <a:pt x="356" y="707"/>
                    <a:pt x="353" y="710"/>
                    <a:pt x="344" y="704"/>
                  </a:cubicBezTo>
                  <a:cubicBezTo>
                    <a:pt x="326" y="704"/>
                    <a:pt x="329" y="704"/>
                    <a:pt x="320" y="716"/>
                  </a:cubicBezTo>
                  <a:cubicBezTo>
                    <a:pt x="308" y="722"/>
                    <a:pt x="296" y="719"/>
                    <a:pt x="287" y="725"/>
                  </a:cubicBezTo>
                  <a:cubicBezTo>
                    <a:pt x="284" y="725"/>
                    <a:pt x="284" y="725"/>
                    <a:pt x="284" y="725"/>
                  </a:cubicBezTo>
                  <a:cubicBezTo>
                    <a:pt x="284" y="722"/>
                    <a:pt x="281" y="722"/>
                    <a:pt x="281" y="719"/>
                  </a:cubicBezTo>
                  <a:cubicBezTo>
                    <a:pt x="269" y="704"/>
                    <a:pt x="252" y="698"/>
                    <a:pt x="237" y="698"/>
                  </a:cubicBezTo>
                  <a:cubicBezTo>
                    <a:pt x="219" y="710"/>
                    <a:pt x="213" y="716"/>
                    <a:pt x="207" y="734"/>
                  </a:cubicBezTo>
                  <a:cubicBezTo>
                    <a:pt x="198" y="743"/>
                    <a:pt x="195" y="749"/>
                    <a:pt x="183" y="749"/>
                  </a:cubicBezTo>
                  <a:cubicBezTo>
                    <a:pt x="177" y="749"/>
                    <a:pt x="174" y="746"/>
                    <a:pt x="168" y="746"/>
                  </a:cubicBezTo>
                  <a:cubicBezTo>
                    <a:pt x="165" y="743"/>
                    <a:pt x="162" y="740"/>
                    <a:pt x="159" y="740"/>
                  </a:cubicBezTo>
                  <a:cubicBezTo>
                    <a:pt x="156" y="725"/>
                    <a:pt x="141" y="722"/>
                    <a:pt x="135" y="719"/>
                  </a:cubicBezTo>
                  <a:cubicBezTo>
                    <a:pt x="132" y="716"/>
                    <a:pt x="132" y="713"/>
                    <a:pt x="129" y="710"/>
                  </a:cubicBezTo>
                  <a:cubicBezTo>
                    <a:pt x="129" y="704"/>
                    <a:pt x="129" y="698"/>
                    <a:pt x="129" y="689"/>
                  </a:cubicBezTo>
                  <a:cubicBezTo>
                    <a:pt x="132" y="686"/>
                    <a:pt x="129" y="677"/>
                    <a:pt x="129" y="677"/>
                  </a:cubicBezTo>
                  <a:cubicBezTo>
                    <a:pt x="123" y="659"/>
                    <a:pt x="108" y="662"/>
                    <a:pt x="96" y="659"/>
                  </a:cubicBezTo>
                  <a:cubicBezTo>
                    <a:pt x="93" y="656"/>
                    <a:pt x="93" y="653"/>
                    <a:pt x="90" y="650"/>
                  </a:cubicBezTo>
                  <a:cubicBezTo>
                    <a:pt x="84" y="644"/>
                    <a:pt x="81" y="638"/>
                    <a:pt x="78" y="629"/>
                  </a:cubicBezTo>
                  <a:cubicBezTo>
                    <a:pt x="72" y="629"/>
                    <a:pt x="66" y="626"/>
                    <a:pt x="60" y="626"/>
                  </a:cubicBezTo>
                  <a:cubicBezTo>
                    <a:pt x="54" y="614"/>
                    <a:pt x="63" y="602"/>
                    <a:pt x="66" y="593"/>
                  </a:cubicBezTo>
                  <a:cubicBezTo>
                    <a:pt x="66" y="575"/>
                    <a:pt x="54" y="566"/>
                    <a:pt x="45" y="557"/>
                  </a:cubicBezTo>
                  <a:cubicBezTo>
                    <a:pt x="36" y="554"/>
                    <a:pt x="30" y="551"/>
                    <a:pt x="21" y="545"/>
                  </a:cubicBezTo>
                  <a:cubicBezTo>
                    <a:pt x="21" y="545"/>
                    <a:pt x="18" y="545"/>
                    <a:pt x="18" y="542"/>
                  </a:cubicBezTo>
                  <a:cubicBezTo>
                    <a:pt x="18" y="524"/>
                    <a:pt x="18" y="527"/>
                    <a:pt x="36" y="521"/>
                  </a:cubicBezTo>
                  <a:cubicBezTo>
                    <a:pt x="39" y="518"/>
                    <a:pt x="45" y="513"/>
                    <a:pt x="45" y="510"/>
                  </a:cubicBezTo>
                  <a:cubicBezTo>
                    <a:pt x="45" y="495"/>
                    <a:pt x="45" y="477"/>
                    <a:pt x="45" y="462"/>
                  </a:cubicBezTo>
                  <a:cubicBezTo>
                    <a:pt x="42" y="438"/>
                    <a:pt x="24" y="444"/>
                    <a:pt x="12" y="444"/>
                  </a:cubicBezTo>
                  <a:cubicBezTo>
                    <a:pt x="9" y="444"/>
                    <a:pt x="9" y="447"/>
                    <a:pt x="6" y="447"/>
                  </a:cubicBezTo>
                  <a:cubicBezTo>
                    <a:pt x="6" y="450"/>
                    <a:pt x="6" y="450"/>
                    <a:pt x="6" y="450"/>
                  </a:cubicBezTo>
                  <a:cubicBezTo>
                    <a:pt x="3" y="438"/>
                    <a:pt x="3" y="435"/>
                    <a:pt x="3" y="429"/>
                  </a:cubicBezTo>
                  <a:cubicBezTo>
                    <a:pt x="6" y="426"/>
                    <a:pt x="12" y="426"/>
                    <a:pt x="15" y="423"/>
                  </a:cubicBezTo>
                  <a:cubicBezTo>
                    <a:pt x="15" y="420"/>
                    <a:pt x="15" y="414"/>
                    <a:pt x="15" y="411"/>
                  </a:cubicBezTo>
                  <a:cubicBezTo>
                    <a:pt x="3" y="393"/>
                    <a:pt x="0" y="405"/>
                    <a:pt x="21" y="390"/>
                  </a:cubicBezTo>
                  <a:cubicBezTo>
                    <a:pt x="24" y="384"/>
                    <a:pt x="30" y="378"/>
                    <a:pt x="33" y="372"/>
                  </a:cubicBezTo>
                  <a:cubicBezTo>
                    <a:pt x="42" y="369"/>
                    <a:pt x="48" y="366"/>
                    <a:pt x="54" y="363"/>
                  </a:cubicBezTo>
                  <a:cubicBezTo>
                    <a:pt x="78" y="363"/>
                    <a:pt x="90" y="363"/>
                    <a:pt x="108" y="354"/>
                  </a:cubicBezTo>
                  <a:cubicBezTo>
                    <a:pt x="111" y="354"/>
                    <a:pt x="114" y="354"/>
                    <a:pt x="117" y="354"/>
                  </a:cubicBezTo>
                  <a:cubicBezTo>
                    <a:pt x="117" y="360"/>
                    <a:pt x="120" y="375"/>
                    <a:pt x="135" y="378"/>
                  </a:cubicBezTo>
                  <a:cubicBezTo>
                    <a:pt x="141" y="378"/>
                    <a:pt x="150" y="378"/>
                    <a:pt x="156" y="375"/>
                  </a:cubicBezTo>
                  <a:cubicBezTo>
                    <a:pt x="162" y="366"/>
                    <a:pt x="165" y="360"/>
                    <a:pt x="171" y="354"/>
                  </a:cubicBezTo>
                  <a:cubicBezTo>
                    <a:pt x="180" y="354"/>
                    <a:pt x="186" y="357"/>
                    <a:pt x="198" y="354"/>
                  </a:cubicBezTo>
                  <a:cubicBezTo>
                    <a:pt x="201" y="348"/>
                    <a:pt x="204" y="348"/>
                    <a:pt x="210" y="342"/>
                  </a:cubicBezTo>
                  <a:cubicBezTo>
                    <a:pt x="213" y="342"/>
                    <a:pt x="216" y="342"/>
                    <a:pt x="219" y="342"/>
                  </a:cubicBezTo>
                  <a:cubicBezTo>
                    <a:pt x="228" y="345"/>
                    <a:pt x="234" y="348"/>
                    <a:pt x="246" y="348"/>
                  </a:cubicBezTo>
                  <a:cubicBezTo>
                    <a:pt x="257" y="342"/>
                    <a:pt x="278" y="345"/>
                    <a:pt x="296" y="339"/>
                  </a:cubicBezTo>
                  <a:cubicBezTo>
                    <a:pt x="302" y="336"/>
                    <a:pt x="308" y="330"/>
                    <a:pt x="314" y="327"/>
                  </a:cubicBezTo>
                  <a:cubicBezTo>
                    <a:pt x="317" y="321"/>
                    <a:pt x="320" y="315"/>
                    <a:pt x="320" y="312"/>
                  </a:cubicBezTo>
                  <a:cubicBezTo>
                    <a:pt x="335" y="306"/>
                    <a:pt x="338" y="288"/>
                    <a:pt x="341" y="276"/>
                  </a:cubicBezTo>
                  <a:cubicBezTo>
                    <a:pt x="347" y="273"/>
                    <a:pt x="356" y="270"/>
                    <a:pt x="359" y="267"/>
                  </a:cubicBezTo>
                  <a:cubicBezTo>
                    <a:pt x="362" y="261"/>
                    <a:pt x="365" y="255"/>
                    <a:pt x="365" y="249"/>
                  </a:cubicBezTo>
                  <a:cubicBezTo>
                    <a:pt x="365" y="240"/>
                    <a:pt x="368" y="231"/>
                    <a:pt x="368" y="222"/>
                  </a:cubicBezTo>
                  <a:cubicBezTo>
                    <a:pt x="365" y="216"/>
                    <a:pt x="365" y="213"/>
                    <a:pt x="365" y="210"/>
                  </a:cubicBezTo>
                  <a:cubicBezTo>
                    <a:pt x="365" y="192"/>
                    <a:pt x="371" y="177"/>
                    <a:pt x="365" y="168"/>
                  </a:cubicBezTo>
                  <a:cubicBezTo>
                    <a:pt x="362" y="168"/>
                    <a:pt x="362" y="165"/>
                    <a:pt x="362" y="165"/>
                  </a:cubicBezTo>
                  <a:cubicBezTo>
                    <a:pt x="380" y="165"/>
                    <a:pt x="395" y="165"/>
                    <a:pt x="413" y="168"/>
                  </a:cubicBezTo>
                  <a:cubicBezTo>
                    <a:pt x="425" y="174"/>
                    <a:pt x="437" y="168"/>
                    <a:pt x="452" y="180"/>
                  </a:cubicBezTo>
                  <a:cubicBezTo>
                    <a:pt x="455" y="180"/>
                    <a:pt x="458" y="180"/>
                    <a:pt x="461" y="180"/>
                  </a:cubicBezTo>
                  <a:cubicBezTo>
                    <a:pt x="464" y="177"/>
                    <a:pt x="464" y="174"/>
                    <a:pt x="467" y="174"/>
                  </a:cubicBezTo>
                  <a:cubicBezTo>
                    <a:pt x="467" y="171"/>
                    <a:pt x="467" y="168"/>
                    <a:pt x="467" y="165"/>
                  </a:cubicBezTo>
                  <a:cubicBezTo>
                    <a:pt x="464" y="156"/>
                    <a:pt x="464" y="147"/>
                    <a:pt x="467" y="141"/>
                  </a:cubicBezTo>
                  <a:cubicBezTo>
                    <a:pt x="476" y="132"/>
                    <a:pt x="482" y="126"/>
                    <a:pt x="488" y="120"/>
                  </a:cubicBezTo>
                  <a:cubicBezTo>
                    <a:pt x="491" y="102"/>
                    <a:pt x="497" y="99"/>
                    <a:pt x="506" y="87"/>
                  </a:cubicBezTo>
                  <a:cubicBezTo>
                    <a:pt x="509" y="78"/>
                    <a:pt x="506" y="75"/>
                    <a:pt x="518" y="75"/>
                  </a:cubicBezTo>
                  <a:cubicBezTo>
                    <a:pt x="527" y="81"/>
                    <a:pt x="539" y="87"/>
                    <a:pt x="547" y="96"/>
                  </a:cubicBezTo>
                  <a:cubicBezTo>
                    <a:pt x="553" y="96"/>
                    <a:pt x="565" y="96"/>
                    <a:pt x="574" y="105"/>
                  </a:cubicBezTo>
                  <a:cubicBezTo>
                    <a:pt x="586" y="105"/>
                    <a:pt x="610" y="105"/>
                    <a:pt x="616" y="90"/>
                  </a:cubicBezTo>
                  <a:cubicBezTo>
                    <a:pt x="616" y="78"/>
                    <a:pt x="613" y="66"/>
                    <a:pt x="613" y="54"/>
                  </a:cubicBezTo>
                  <a:cubicBezTo>
                    <a:pt x="625" y="30"/>
                    <a:pt x="640" y="30"/>
                    <a:pt x="667" y="27"/>
                  </a:cubicBezTo>
                  <a:cubicBezTo>
                    <a:pt x="676" y="24"/>
                    <a:pt x="679" y="15"/>
                    <a:pt x="682" y="9"/>
                  </a:cubicBezTo>
                  <a:cubicBezTo>
                    <a:pt x="682" y="6"/>
                    <a:pt x="685" y="3"/>
                    <a:pt x="688" y="3"/>
                  </a:cubicBezTo>
                  <a:cubicBezTo>
                    <a:pt x="694" y="0"/>
                    <a:pt x="703" y="0"/>
                    <a:pt x="709" y="0"/>
                  </a:cubicBezTo>
                  <a:cubicBezTo>
                    <a:pt x="712" y="3"/>
                    <a:pt x="715" y="21"/>
                    <a:pt x="718" y="30"/>
                  </a:cubicBezTo>
                  <a:cubicBezTo>
                    <a:pt x="724" y="42"/>
                    <a:pt x="733" y="51"/>
                    <a:pt x="739" y="63"/>
                  </a:cubicBezTo>
                  <a:cubicBezTo>
                    <a:pt x="745" y="66"/>
                    <a:pt x="757" y="69"/>
                    <a:pt x="769" y="72"/>
                  </a:cubicBezTo>
                  <a:cubicBezTo>
                    <a:pt x="775" y="75"/>
                    <a:pt x="778" y="81"/>
                    <a:pt x="784" y="84"/>
                  </a:cubicBezTo>
                  <a:cubicBezTo>
                    <a:pt x="787" y="87"/>
                    <a:pt x="790" y="93"/>
                    <a:pt x="793" y="96"/>
                  </a:cubicBezTo>
                  <a:cubicBezTo>
                    <a:pt x="793" y="105"/>
                    <a:pt x="793" y="114"/>
                    <a:pt x="796" y="123"/>
                  </a:cubicBezTo>
                  <a:cubicBezTo>
                    <a:pt x="799" y="129"/>
                    <a:pt x="802" y="135"/>
                    <a:pt x="805" y="141"/>
                  </a:cubicBezTo>
                  <a:cubicBezTo>
                    <a:pt x="805" y="150"/>
                    <a:pt x="811" y="171"/>
                    <a:pt x="802" y="183"/>
                  </a:cubicBezTo>
                  <a:cubicBezTo>
                    <a:pt x="781" y="195"/>
                    <a:pt x="784" y="189"/>
                    <a:pt x="784" y="213"/>
                  </a:cubicBezTo>
                  <a:cubicBezTo>
                    <a:pt x="784" y="216"/>
                    <a:pt x="784" y="225"/>
                    <a:pt x="790" y="234"/>
                  </a:cubicBezTo>
                  <a:cubicBezTo>
                    <a:pt x="796" y="237"/>
                    <a:pt x="802" y="243"/>
                    <a:pt x="808" y="246"/>
                  </a:cubicBezTo>
                  <a:cubicBezTo>
                    <a:pt x="814" y="246"/>
                    <a:pt x="823" y="249"/>
                    <a:pt x="831" y="252"/>
                  </a:cubicBezTo>
                  <a:cubicBezTo>
                    <a:pt x="846" y="264"/>
                    <a:pt x="864" y="264"/>
                    <a:pt x="888" y="264"/>
                  </a:cubicBezTo>
                  <a:cubicBezTo>
                    <a:pt x="894" y="267"/>
                    <a:pt x="909" y="279"/>
                    <a:pt x="918" y="288"/>
                  </a:cubicBezTo>
                  <a:cubicBezTo>
                    <a:pt x="924" y="297"/>
                    <a:pt x="933" y="303"/>
                    <a:pt x="939" y="309"/>
                  </a:cubicBezTo>
                  <a:cubicBezTo>
                    <a:pt x="948" y="309"/>
                    <a:pt x="957" y="312"/>
                    <a:pt x="963" y="321"/>
                  </a:cubicBezTo>
                  <a:cubicBezTo>
                    <a:pt x="966" y="330"/>
                    <a:pt x="969" y="345"/>
                    <a:pt x="975" y="357"/>
                  </a:cubicBezTo>
                  <a:cubicBezTo>
                    <a:pt x="978" y="360"/>
                    <a:pt x="984" y="360"/>
                    <a:pt x="987" y="369"/>
                  </a:cubicBezTo>
                  <a:cubicBezTo>
                    <a:pt x="987" y="375"/>
                    <a:pt x="984" y="378"/>
                    <a:pt x="984" y="384"/>
                  </a:cubicBezTo>
                  <a:cubicBezTo>
                    <a:pt x="987" y="387"/>
                    <a:pt x="987" y="390"/>
                    <a:pt x="990" y="396"/>
                  </a:cubicBezTo>
                  <a:cubicBezTo>
                    <a:pt x="978" y="402"/>
                    <a:pt x="978" y="402"/>
                    <a:pt x="975" y="417"/>
                  </a:cubicBezTo>
                  <a:cubicBezTo>
                    <a:pt x="975" y="423"/>
                    <a:pt x="975" y="429"/>
                    <a:pt x="975" y="435"/>
                  </a:cubicBezTo>
                  <a:cubicBezTo>
                    <a:pt x="975" y="441"/>
                    <a:pt x="978" y="447"/>
                    <a:pt x="978" y="453"/>
                  </a:cubicBezTo>
                  <a:cubicBezTo>
                    <a:pt x="975" y="453"/>
                    <a:pt x="975" y="453"/>
                    <a:pt x="975" y="453"/>
                  </a:cubicBezTo>
                  <a:cubicBezTo>
                    <a:pt x="963" y="456"/>
                    <a:pt x="951" y="456"/>
                    <a:pt x="939" y="456"/>
                  </a:cubicBezTo>
                  <a:cubicBezTo>
                    <a:pt x="912" y="459"/>
                    <a:pt x="900" y="462"/>
                    <a:pt x="891" y="486"/>
                  </a:cubicBezTo>
                  <a:cubicBezTo>
                    <a:pt x="885" y="495"/>
                    <a:pt x="879" y="498"/>
                    <a:pt x="876" y="510"/>
                  </a:cubicBezTo>
                  <a:cubicBezTo>
                    <a:pt x="864" y="518"/>
                    <a:pt x="846" y="518"/>
                    <a:pt x="834" y="518"/>
                  </a:cubicBezTo>
                  <a:cubicBezTo>
                    <a:pt x="834" y="524"/>
                    <a:pt x="829" y="533"/>
                    <a:pt x="823" y="539"/>
                  </a:cubicBezTo>
                  <a:cubicBezTo>
                    <a:pt x="820" y="548"/>
                    <a:pt x="823" y="557"/>
                    <a:pt x="829" y="572"/>
                  </a:cubicBezTo>
                  <a:cubicBezTo>
                    <a:pt x="829" y="578"/>
                    <a:pt x="829" y="581"/>
                    <a:pt x="829" y="587"/>
                  </a:cubicBezTo>
                  <a:cubicBezTo>
                    <a:pt x="820" y="587"/>
                    <a:pt x="811" y="590"/>
                    <a:pt x="802" y="593"/>
                  </a:cubicBezTo>
                  <a:cubicBezTo>
                    <a:pt x="793" y="593"/>
                    <a:pt x="787" y="599"/>
                    <a:pt x="781" y="602"/>
                  </a:cubicBezTo>
                  <a:cubicBezTo>
                    <a:pt x="757" y="611"/>
                    <a:pt x="733" y="614"/>
                    <a:pt x="712" y="614"/>
                  </a:cubicBezTo>
                  <a:cubicBezTo>
                    <a:pt x="703" y="614"/>
                    <a:pt x="703" y="614"/>
                    <a:pt x="697" y="617"/>
                  </a:cubicBezTo>
                  <a:cubicBezTo>
                    <a:pt x="697" y="626"/>
                    <a:pt x="697" y="626"/>
                    <a:pt x="706" y="635"/>
                  </a:cubicBezTo>
                  <a:cubicBezTo>
                    <a:pt x="697" y="647"/>
                    <a:pt x="706" y="656"/>
                    <a:pt x="718" y="665"/>
                  </a:cubicBezTo>
                  <a:cubicBezTo>
                    <a:pt x="724" y="668"/>
                    <a:pt x="727" y="674"/>
                    <a:pt x="730" y="680"/>
                  </a:cubicBezTo>
                  <a:cubicBezTo>
                    <a:pt x="736" y="683"/>
                    <a:pt x="739" y="686"/>
                    <a:pt x="739" y="698"/>
                  </a:cubicBezTo>
                  <a:cubicBezTo>
                    <a:pt x="736" y="701"/>
                    <a:pt x="733" y="701"/>
                    <a:pt x="733" y="704"/>
                  </a:cubicBezTo>
                  <a:cubicBezTo>
                    <a:pt x="715" y="713"/>
                    <a:pt x="715" y="710"/>
                    <a:pt x="715" y="731"/>
                  </a:cubicBezTo>
                  <a:cubicBezTo>
                    <a:pt x="718" y="734"/>
                    <a:pt x="724" y="740"/>
                    <a:pt x="724" y="752"/>
                  </a:cubicBezTo>
                  <a:cubicBezTo>
                    <a:pt x="718" y="758"/>
                    <a:pt x="712" y="758"/>
                    <a:pt x="709" y="758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6887517" y="2437795"/>
              <a:ext cx="363325" cy="259570"/>
            </a:xfrm>
            <a:custGeom>
              <a:avLst/>
              <a:gdLst>
                <a:gd name="T0" fmla="*/ 1789808319 w 622"/>
                <a:gd name="T1" fmla="*/ 2147483647 h 450"/>
                <a:gd name="T2" fmla="*/ 1459380554 w 622"/>
                <a:gd name="T3" fmla="*/ 2147483647 h 450"/>
                <a:gd name="T4" fmla="*/ 846717051 w 622"/>
                <a:gd name="T5" fmla="*/ 2147483647 h 450"/>
                <a:gd name="T6" fmla="*/ 495637877 w 622"/>
                <a:gd name="T7" fmla="*/ 2147483647 h 450"/>
                <a:gd name="T8" fmla="*/ 227169007 w 622"/>
                <a:gd name="T9" fmla="*/ 2147483647 h 450"/>
                <a:gd name="T10" fmla="*/ 0 w 622"/>
                <a:gd name="T11" fmla="*/ 1409112578 h 450"/>
                <a:gd name="T12" fmla="*/ 20651249 w 622"/>
                <a:gd name="T13" fmla="*/ 1119001590 h 450"/>
                <a:gd name="T14" fmla="*/ 144561369 w 622"/>
                <a:gd name="T15" fmla="*/ 1119001590 h 450"/>
                <a:gd name="T16" fmla="*/ 371730417 w 622"/>
                <a:gd name="T17" fmla="*/ 1160445595 h 450"/>
                <a:gd name="T18" fmla="*/ 536942988 w 622"/>
                <a:gd name="T19" fmla="*/ 1119001590 h 450"/>
                <a:gd name="T20" fmla="*/ 474986634 w 622"/>
                <a:gd name="T21" fmla="*/ 870334935 h 450"/>
                <a:gd name="T22" fmla="*/ 619547961 w 622"/>
                <a:gd name="T23" fmla="*/ 766723610 h 450"/>
                <a:gd name="T24" fmla="*/ 413032904 w 622"/>
                <a:gd name="T25" fmla="*/ 414445465 h 450"/>
                <a:gd name="T26" fmla="*/ 351076550 w 622"/>
                <a:gd name="T27" fmla="*/ 207222733 h 450"/>
                <a:gd name="T28" fmla="*/ 867368294 w 622"/>
                <a:gd name="T29" fmla="*/ 124334683 h 450"/>
                <a:gd name="T30" fmla="*/ 1356124009 w 622"/>
                <a:gd name="T31" fmla="*/ 20723321 h 450"/>
                <a:gd name="T32" fmla="*/ 2058277108 w 622"/>
                <a:gd name="T33" fmla="*/ 248666737 h 450"/>
                <a:gd name="T34" fmla="*/ 2147483647 w 622"/>
                <a:gd name="T35" fmla="*/ 414445465 h 450"/>
                <a:gd name="T36" fmla="*/ 2147483647 w 622"/>
                <a:gd name="T37" fmla="*/ 373001461 h 450"/>
                <a:gd name="T38" fmla="*/ 2147483647 w 622"/>
                <a:gd name="T39" fmla="*/ 165778687 h 450"/>
                <a:gd name="T40" fmla="*/ 2147483647 w 622"/>
                <a:gd name="T41" fmla="*/ 290110742 h 450"/>
                <a:gd name="T42" fmla="*/ 2147483647 w 622"/>
                <a:gd name="T43" fmla="*/ 435166154 h 450"/>
                <a:gd name="T44" fmla="*/ 2147483647 w 622"/>
                <a:gd name="T45" fmla="*/ 476612786 h 450"/>
                <a:gd name="T46" fmla="*/ 2147483647 w 622"/>
                <a:gd name="T47" fmla="*/ 621668116 h 450"/>
                <a:gd name="T48" fmla="*/ 2147483647 w 622"/>
                <a:gd name="T49" fmla="*/ 808167614 h 450"/>
                <a:gd name="T50" fmla="*/ 2147483647 w 622"/>
                <a:gd name="T51" fmla="*/ 1077557586 h 450"/>
                <a:gd name="T52" fmla="*/ 2147483647 w 622"/>
                <a:gd name="T53" fmla="*/ 1409112578 h 450"/>
                <a:gd name="T54" fmla="*/ 2147483647 w 622"/>
                <a:gd name="T55" fmla="*/ 1865001884 h 450"/>
                <a:gd name="T56" fmla="*/ 2147483647 w 622"/>
                <a:gd name="T57" fmla="*/ 2010057214 h 450"/>
                <a:gd name="T58" fmla="*/ 2147483647 w 622"/>
                <a:gd name="T59" fmla="*/ 2147483647 h 450"/>
                <a:gd name="T60" fmla="*/ 2147483647 w 622"/>
                <a:gd name="T61" fmla="*/ 2092945223 h 450"/>
                <a:gd name="T62" fmla="*/ 2147483647 w 622"/>
                <a:gd name="T63" fmla="*/ 2147483647 h 450"/>
                <a:gd name="T64" fmla="*/ 2147483647 w 622"/>
                <a:gd name="T65" fmla="*/ 2147483647 h 450"/>
                <a:gd name="T66" fmla="*/ 2147483647 w 622"/>
                <a:gd name="T67" fmla="*/ 2147483647 h 450"/>
                <a:gd name="T68" fmla="*/ 2147483647 w 622"/>
                <a:gd name="T69" fmla="*/ 2147483647 h 450"/>
                <a:gd name="T70" fmla="*/ 2147483647 w 622"/>
                <a:gd name="T71" fmla="*/ 2147483647 h 450"/>
                <a:gd name="T72" fmla="*/ 2147483647 w 622"/>
                <a:gd name="T73" fmla="*/ 2147483647 h 450"/>
                <a:gd name="T74" fmla="*/ 2147483647 w 622"/>
                <a:gd name="T75" fmla="*/ 2147483647 h 450"/>
                <a:gd name="T76" fmla="*/ 2147483647 w 622"/>
                <a:gd name="T77" fmla="*/ 2147483647 h 450"/>
                <a:gd name="T78" fmla="*/ 2147483647 w 622"/>
                <a:gd name="T79" fmla="*/ 2147483647 h 450"/>
                <a:gd name="T80" fmla="*/ 2147483647 w 622"/>
                <a:gd name="T81" fmla="*/ 2147483647 h 450"/>
                <a:gd name="T82" fmla="*/ 2147483647 w 622"/>
                <a:gd name="T83" fmla="*/ 2147483647 h 450"/>
                <a:gd name="T84" fmla="*/ 2140884705 w 622"/>
                <a:gd name="T85" fmla="*/ 2147483647 h 450"/>
                <a:gd name="T86" fmla="*/ 1934369647 w 622"/>
                <a:gd name="T87" fmla="*/ 2147483647 h 45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22"/>
                <a:gd name="T133" fmla="*/ 0 h 450"/>
                <a:gd name="T134" fmla="*/ 622 w 622"/>
                <a:gd name="T135" fmla="*/ 450 h 45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22" h="450">
                  <a:moveTo>
                    <a:pt x="275" y="450"/>
                  </a:moveTo>
                  <a:cubicBezTo>
                    <a:pt x="269" y="444"/>
                    <a:pt x="263" y="441"/>
                    <a:pt x="260" y="435"/>
                  </a:cubicBezTo>
                  <a:cubicBezTo>
                    <a:pt x="257" y="420"/>
                    <a:pt x="251" y="408"/>
                    <a:pt x="245" y="399"/>
                  </a:cubicBezTo>
                  <a:cubicBezTo>
                    <a:pt x="233" y="384"/>
                    <a:pt x="224" y="384"/>
                    <a:pt x="212" y="378"/>
                  </a:cubicBezTo>
                  <a:cubicBezTo>
                    <a:pt x="194" y="378"/>
                    <a:pt x="177" y="381"/>
                    <a:pt x="159" y="381"/>
                  </a:cubicBezTo>
                  <a:cubicBezTo>
                    <a:pt x="141" y="378"/>
                    <a:pt x="132" y="369"/>
                    <a:pt x="123" y="360"/>
                  </a:cubicBezTo>
                  <a:cubicBezTo>
                    <a:pt x="105" y="357"/>
                    <a:pt x="90" y="354"/>
                    <a:pt x="78" y="345"/>
                  </a:cubicBezTo>
                  <a:cubicBezTo>
                    <a:pt x="78" y="342"/>
                    <a:pt x="72" y="336"/>
                    <a:pt x="72" y="333"/>
                  </a:cubicBezTo>
                  <a:cubicBezTo>
                    <a:pt x="69" y="330"/>
                    <a:pt x="69" y="330"/>
                    <a:pt x="69" y="330"/>
                  </a:cubicBezTo>
                  <a:cubicBezTo>
                    <a:pt x="54" y="327"/>
                    <a:pt x="42" y="324"/>
                    <a:pt x="33" y="318"/>
                  </a:cubicBezTo>
                  <a:cubicBezTo>
                    <a:pt x="12" y="312"/>
                    <a:pt x="6" y="282"/>
                    <a:pt x="3" y="270"/>
                  </a:cubicBezTo>
                  <a:cubicBezTo>
                    <a:pt x="0" y="246"/>
                    <a:pt x="0" y="225"/>
                    <a:pt x="0" y="204"/>
                  </a:cubicBezTo>
                  <a:cubicBezTo>
                    <a:pt x="3" y="198"/>
                    <a:pt x="9" y="186"/>
                    <a:pt x="9" y="180"/>
                  </a:cubicBezTo>
                  <a:cubicBezTo>
                    <a:pt x="9" y="171"/>
                    <a:pt x="3" y="165"/>
                    <a:pt x="3" y="162"/>
                  </a:cubicBezTo>
                  <a:cubicBezTo>
                    <a:pt x="6" y="162"/>
                    <a:pt x="9" y="162"/>
                    <a:pt x="9" y="162"/>
                  </a:cubicBezTo>
                  <a:cubicBezTo>
                    <a:pt x="12" y="165"/>
                    <a:pt x="18" y="162"/>
                    <a:pt x="21" y="162"/>
                  </a:cubicBezTo>
                  <a:cubicBezTo>
                    <a:pt x="24" y="159"/>
                    <a:pt x="24" y="159"/>
                    <a:pt x="24" y="156"/>
                  </a:cubicBezTo>
                  <a:cubicBezTo>
                    <a:pt x="36" y="150"/>
                    <a:pt x="39" y="162"/>
                    <a:pt x="54" y="168"/>
                  </a:cubicBezTo>
                  <a:cubicBezTo>
                    <a:pt x="57" y="168"/>
                    <a:pt x="69" y="171"/>
                    <a:pt x="75" y="168"/>
                  </a:cubicBezTo>
                  <a:cubicBezTo>
                    <a:pt x="75" y="165"/>
                    <a:pt x="78" y="162"/>
                    <a:pt x="78" y="162"/>
                  </a:cubicBezTo>
                  <a:cubicBezTo>
                    <a:pt x="78" y="156"/>
                    <a:pt x="78" y="153"/>
                    <a:pt x="78" y="150"/>
                  </a:cubicBezTo>
                  <a:cubicBezTo>
                    <a:pt x="72" y="138"/>
                    <a:pt x="63" y="132"/>
                    <a:pt x="69" y="126"/>
                  </a:cubicBezTo>
                  <a:cubicBezTo>
                    <a:pt x="75" y="120"/>
                    <a:pt x="78" y="120"/>
                    <a:pt x="84" y="117"/>
                  </a:cubicBezTo>
                  <a:cubicBezTo>
                    <a:pt x="84" y="114"/>
                    <a:pt x="87" y="111"/>
                    <a:pt x="90" y="111"/>
                  </a:cubicBezTo>
                  <a:cubicBezTo>
                    <a:pt x="99" y="90"/>
                    <a:pt x="87" y="87"/>
                    <a:pt x="78" y="81"/>
                  </a:cubicBezTo>
                  <a:cubicBezTo>
                    <a:pt x="75" y="69"/>
                    <a:pt x="66" y="60"/>
                    <a:pt x="60" y="60"/>
                  </a:cubicBezTo>
                  <a:cubicBezTo>
                    <a:pt x="60" y="57"/>
                    <a:pt x="57" y="54"/>
                    <a:pt x="57" y="51"/>
                  </a:cubicBezTo>
                  <a:cubicBezTo>
                    <a:pt x="63" y="42"/>
                    <a:pt x="54" y="33"/>
                    <a:pt x="51" y="30"/>
                  </a:cubicBezTo>
                  <a:cubicBezTo>
                    <a:pt x="51" y="30"/>
                    <a:pt x="51" y="30"/>
                    <a:pt x="51" y="27"/>
                  </a:cubicBezTo>
                  <a:cubicBezTo>
                    <a:pt x="72" y="21"/>
                    <a:pt x="102" y="24"/>
                    <a:pt x="126" y="18"/>
                  </a:cubicBezTo>
                  <a:cubicBezTo>
                    <a:pt x="144" y="6"/>
                    <a:pt x="162" y="0"/>
                    <a:pt x="188" y="0"/>
                  </a:cubicBezTo>
                  <a:cubicBezTo>
                    <a:pt x="191" y="0"/>
                    <a:pt x="194" y="3"/>
                    <a:pt x="197" y="3"/>
                  </a:cubicBezTo>
                  <a:cubicBezTo>
                    <a:pt x="218" y="3"/>
                    <a:pt x="239" y="0"/>
                    <a:pt x="260" y="9"/>
                  </a:cubicBezTo>
                  <a:cubicBezTo>
                    <a:pt x="275" y="18"/>
                    <a:pt x="287" y="27"/>
                    <a:pt x="299" y="36"/>
                  </a:cubicBezTo>
                  <a:cubicBezTo>
                    <a:pt x="302" y="36"/>
                    <a:pt x="302" y="39"/>
                    <a:pt x="305" y="42"/>
                  </a:cubicBezTo>
                  <a:cubicBezTo>
                    <a:pt x="311" y="45"/>
                    <a:pt x="320" y="54"/>
                    <a:pt x="335" y="60"/>
                  </a:cubicBezTo>
                  <a:cubicBezTo>
                    <a:pt x="341" y="60"/>
                    <a:pt x="347" y="60"/>
                    <a:pt x="350" y="60"/>
                  </a:cubicBezTo>
                  <a:cubicBezTo>
                    <a:pt x="353" y="57"/>
                    <a:pt x="356" y="54"/>
                    <a:pt x="359" y="54"/>
                  </a:cubicBezTo>
                  <a:cubicBezTo>
                    <a:pt x="359" y="42"/>
                    <a:pt x="359" y="33"/>
                    <a:pt x="356" y="27"/>
                  </a:cubicBezTo>
                  <a:cubicBezTo>
                    <a:pt x="362" y="24"/>
                    <a:pt x="371" y="24"/>
                    <a:pt x="380" y="24"/>
                  </a:cubicBezTo>
                  <a:cubicBezTo>
                    <a:pt x="383" y="27"/>
                    <a:pt x="389" y="30"/>
                    <a:pt x="395" y="36"/>
                  </a:cubicBezTo>
                  <a:cubicBezTo>
                    <a:pt x="404" y="36"/>
                    <a:pt x="413" y="39"/>
                    <a:pt x="428" y="42"/>
                  </a:cubicBezTo>
                  <a:cubicBezTo>
                    <a:pt x="434" y="45"/>
                    <a:pt x="440" y="48"/>
                    <a:pt x="446" y="51"/>
                  </a:cubicBezTo>
                  <a:cubicBezTo>
                    <a:pt x="452" y="54"/>
                    <a:pt x="458" y="57"/>
                    <a:pt x="464" y="63"/>
                  </a:cubicBezTo>
                  <a:cubicBezTo>
                    <a:pt x="464" y="63"/>
                    <a:pt x="464" y="63"/>
                    <a:pt x="464" y="63"/>
                  </a:cubicBezTo>
                  <a:cubicBezTo>
                    <a:pt x="464" y="66"/>
                    <a:pt x="467" y="66"/>
                    <a:pt x="467" y="69"/>
                  </a:cubicBezTo>
                  <a:cubicBezTo>
                    <a:pt x="475" y="69"/>
                    <a:pt x="484" y="69"/>
                    <a:pt x="493" y="66"/>
                  </a:cubicBezTo>
                  <a:cubicBezTo>
                    <a:pt x="499" y="75"/>
                    <a:pt x="505" y="81"/>
                    <a:pt x="514" y="90"/>
                  </a:cubicBezTo>
                  <a:cubicBezTo>
                    <a:pt x="523" y="96"/>
                    <a:pt x="532" y="105"/>
                    <a:pt x="541" y="111"/>
                  </a:cubicBezTo>
                  <a:cubicBezTo>
                    <a:pt x="547" y="114"/>
                    <a:pt x="550" y="114"/>
                    <a:pt x="556" y="117"/>
                  </a:cubicBezTo>
                  <a:cubicBezTo>
                    <a:pt x="562" y="117"/>
                    <a:pt x="571" y="117"/>
                    <a:pt x="580" y="117"/>
                  </a:cubicBezTo>
                  <a:cubicBezTo>
                    <a:pt x="586" y="123"/>
                    <a:pt x="592" y="144"/>
                    <a:pt x="595" y="156"/>
                  </a:cubicBezTo>
                  <a:cubicBezTo>
                    <a:pt x="598" y="165"/>
                    <a:pt x="601" y="174"/>
                    <a:pt x="604" y="183"/>
                  </a:cubicBezTo>
                  <a:cubicBezTo>
                    <a:pt x="607" y="189"/>
                    <a:pt x="607" y="198"/>
                    <a:pt x="607" y="204"/>
                  </a:cubicBezTo>
                  <a:cubicBezTo>
                    <a:pt x="610" y="210"/>
                    <a:pt x="622" y="222"/>
                    <a:pt x="610" y="231"/>
                  </a:cubicBezTo>
                  <a:cubicBezTo>
                    <a:pt x="589" y="243"/>
                    <a:pt x="589" y="246"/>
                    <a:pt x="574" y="270"/>
                  </a:cubicBezTo>
                  <a:cubicBezTo>
                    <a:pt x="568" y="273"/>
                    <a:pt x="562" y="279"/>
                    <a:pt x="559" y="282"/>
                  </a:cubicBezTo>
                  <a:cubicBezTo>
                    <a:pt x="556" y="285"/>
                    <a:pt x="556" y="288"/>
                    <a:pt x="556" y="291"/>
                  </a:cubicBezTo>
                  <a:cubicBezTo>
                    <a:pt x="562" y="294"/>
                    <a:pt x="568" y="300"/>
                    <a:pt x="574" y="306"/>
                  </a:cubicBezTo>
                  <a:cubicBezTo>
                    <a:pt x="574" y="315"/>
                    <a:pt x="559" y="312"/>
                    <a:pt x="559" y="312"/>
                  </a:cubicBezTo>
                  <a:cubicBezTo>
                    <a:pt x="553" y="309"/>
                    <a:pt x="547" y="306"/>
                    <a:pt x="541" y="300"/>
                  </a:cubicBezTo>
                  <a:cubicBezTo>
                    <a:pt x="532" y="300"/>
                    <a:pt x="514" y="300"/>
                    <a:pt x="511" y="303"/>
                  </a:cubicBezTo>
                  <a:cubicBezTo>
                    <a:pt x="511" y="318"/>
                    <a:pt x="511" y="330"/>
                    <a:pt x="529" y="345"/>
                  </a:cubicBezTo>
                  <a:cubicBezTo>
                    <a:pt x="529" y="351"/>
                    <a:pt x="529" y="357"/>
                    <a:pt x="529" y="363"/>
                  </a:cubicBezTo>
                  <a:cubicBezTo>
                    <a:pt x="532" y="372"/>
                    <a:pt x="535" y="381"/>
                    <a:pt x="538" y="390"/>
                  </a:cubicBezTo>
                  <a:cubicBezTo>
                    <a:pt x="538" y="399"/>
                    <a:pt x="529" y="399"/>
                    <a:pt x="520" y="399"/>
                  </a:cubicBezTo>
                  <a:cubicBezTo>
                    <a:pt x="511" y="402"/>
                    <a:pt x="511" y="402"/>
                    <a:pt x="505" y="408"/>
                  </a:cubicBezTo>
                  <a:cubicBezTo>
                    <a:pt x="502" y="408"/>
                    <a:pt x="499" y="408"/>
                    <a:pt x="499" y="408"/>
                  </a:cubicBezTo>
                  <a:cubicBezTo>
                    <a:pt x="499" y="405"/>
                    <a:pt x="496" y="402"/>
                    <a:pt x="496" y="402"/>
                  </a:cubicBezTo>
                  <a:cubicBezTo>
                    <a:pt x="490" y="402"/>
                    <a:pt x="487" y="399"/>
                    <a:pt x="481" y="399"/>
                  </a:cubicBezTo>
                  <a:cubicBezTo>
                    <a:pt x="481" y="396"/>
                    <a:pt x="478" y="393"/>
                    <a:pt x="475" y="393"/>
                  </a:cubicBezTo>
                  <a:cubicBezTo>
                    <a:pt x="472" y="393"/>
                    <a:pt x="469" y="393"/>
                    <a:pt x="467" y="393"/>
                  </a:cubicBezTo>
                  <a:cubicBezTo>
                    <a:pt x="467" y="393"/>
                    <a:pt x="458" y="399"/>
                    <a:pt x="455" y="399"/>
                  </a:cubicBezTo>
                  <a:cubicBezTo>
                    <a:pt x="455" y="396"/>
                    <a:pt x="452" y="393"/>
                    <a:pt x="452" y="393"/>
                  </a:cubicBezTo>
                  <a:cubicBezTo>
                    <a:pt x="446" y="390"/>
                    <a:pt x="443" y="390"/>
                    <a:pt x="437" y="390"/>
                  </a:cubicBezTo>
                  <a:cubicBezTo>
                    <a:pt x="431" y="381"/>
                    <a:pt x="422" y="372"/>
                    <a:pt x="416" y="366"/>
                  </a:cubicBezTo>
                  <a:cubicBezTo>
                    <a:pt x="416" y="363"/>
                    <a:pt x="413" y="360"/>
                    <a:pt x="413" y="360"/>
                  </a:cubicBezTo>
                  <a:cubicBezTo>
                    <a:pt x="413" y="342"/>
                    <a:pt x="404" y="336"/>
                    <a:pt x="395" y="327"/>
                  </a:cubicBezTo>
                  <a:cubicBezTo>
                    <a:pt x="383" y="324"/>
                    <a:pt x="371" y="324"/>
                    <a:pt x="362" y="324"/>
                  </a:cubicBezTo>
                  <a:cubicBezTo>
                    <a:pt x="344" y="327"/>
                    <a:pt x="350" y="327"/>
                    <a:pt x="347" y="345"/>
                  </a:cubicBezTo>
                  <a:cubicBezTo>
                    <a:pt x="350" y="351"/>
                    <a:pt x="356" y="357"/>
                    <a:pt x="359" y="360"/>
                  </a:cubicBezTo>
                  <a:cubicBezTo>
                    <a:pt x="359" y="366"/>
                    <a:pt x="359" y="369"/>
                    <a:pt x="359" y="372"/>
                  </a:cubicBezTo>
                  <a:cubicBezTo>
                    <a:pt x="353" y="378"/>
                    <a:pt x="338" y="387"/>
                    <a:pt x="347" y="402"/>
                  </a:cubicBezTo>
                  <a:cubicBezTo>
                    <a:pt x="347" y="408"/>
                    <a:pt x="335" y="423"/>
                    <a:pt x="329" y="429"/>
                  </a:cubicBezTo>
                  <a:cubicBezTo>
                    <a:pt x="326" y="438"/>
                    <a:pt x="320" y="438"/>
                    <a:pt x="314" y="441"/>
                  </a:cubicBezTo>
                  <a:cubicBezTo>
                    <a:pt x="314" y="444"/>
                    <a:pt x="311" y="444"/>
                    <a:pt x="311" y="447"/>
                  </a:cubicBezTo>
                  <a:cubicBezTo>
                    <a:pt x="302" y="447"/>
                    <a:pt x="302" y="441"/>
                    <a:pt x="299" y="438"/>
                  </a:cubicBezTo>
                  <a:cubicBezTo>
                    <a:pt x="293" y="435"/>
                    <a:pt x="284" y="438"/>
                    <a:pt x="281" y="438"/>
                  </a:cubicBezTo>
                  <a:cubicBezTo>
                    <a:pt x="278" y="444"/>
                    <a:pt x="278" y="447"/>
                    <a:pt x="275" y="450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6987184" y="2322470"/>
              <a:ext cx="413865" cy="350507"/>
            </a:xfrm>
            <a:custGeom>
              <a:avLst/>
              <a:gdLst>
                <a:gd name="T0" fmla="*/ 2147483647 w 708"/>
                <a:gd name="T1" fmla="*/ 2147483647 h 608"/>
                <a:gd name="T2" fmla="*/ 2147483647 w 708"/>
                <a:gd name="T3" fmla="*/ 2147483647 h 608"/>
                <a:gd name="T4" fmla="*/ 2147483647 w 708"/>
                <a:gd name="T5" fmla="*/ 2147483647 h 608"/>
                <a:gd name="T6" fmla="*/ 2147483647 w 708"/>
                <a:gd name="T7" fmla="*/ 2147483647 h 608"/>
                <a:gd name="T8" fmla="*/ 2147483647 w 708"/>
                <a:gd name="T9" fmla="*/ 2147483647 h 608"/>
                <a:gd name="T10" fmla="*/ 2147483647 w 708"/>
                <a:gd name="T11" fmla="*/ 2147483647 h 608"/>
                <a:gd name="T12" fmla="*/ 2147483647 w 708"/>
                <a:gd name="T13" fmla="*/ 2147483647 h 608"/>
                <a:gd name="T14" fmla="*/ 2147483647 w 708"/>
                <a:gd name="T15" fmla="*/ 2147483647 h 608"/>
                <a:gd name="T16" fmla="*/ 2147483647 w 708"/>
                <a:gd name="T17" fmla="*/ 2147483647 h 608"/>
                <a:gd name="T18" fmla="*/ 2147483647 w 708"/>
                <a:gd name="T19" fmla="*/ 2147483647 h 608"/>
                <a:gd name="T20" fmla="*/ 2147483647 w 708"/>
                <a:gd name="T21" fmla="*/ 2147483647 h 608"/>
                <a:gd name="T22" fmla="*/ 2147483647 w 708"/>
                <a:gd name="T23" fmla="*/ 2147483647 h 608"/>
                <a:gd name="T24" fmla="*/ 2147483647 w 708"/>
                <a:gd name="T25" fmla="*/ 2147483647 h 608"/>
                <a:gd name="T26" fmla="*/ 2147483647 w 708"/>
                <a:gd name="T27" fmla="*/ 2147483647 h 608"/>
                <a:gd name="T28" fmla="*/ 2147483647 w 708"/>
                <a:gd name="T29" fmla="*/ 2147483647 h 608"/>
                <a:gd name="T30" fmla="*/ 2147483647 w 708"/>
                <a:gd name="T31" fmla="*/ 2147483647 h 608"/>
                <a:gd name="T32" fmla="*/ 2147483647 w 708"/>
                <a:gd name="T33" fmla="*/ 2147483647 h 608"/>
                <a:gd name="T34" fmla="*/ 2147483647 w 708"/>
                <a:gd name="T35" fmla="*/ 2147483647 h 608"/>
                <a:gd name="T36" fmla="*/ 2147483647 w 708"/>
                <a:gd name="T37" fmla="*/ 2147483647 h 608"/>
                <a:gd name="T38" fmla="*/ 2147483647 w 708"/>
                <a:gd name="T39" fmla="*/ 2145736844 h 608"/>
                <a:gd name="T40" fmla="*/ 2147483647 w 708"/>
                <a:gd name="T41" fmla="*/ 1793863521 h 608"/>
                <a:gd name="T42" fmla="*/ 2054428651 w 708"/>
                <a:gd name="T43" fmla="*/ 1814561797 h 608"/>
                <a:gd name="T44" fmla="*/ 1771772001 w 708"/>
                <a:gd name="T45" fmla="*/ 1628277311 h 608"/>
                <a:gd name="T46" fmla="*/ 1296082366 w 708"/>
                <a:gd name="T47" fmla="*/ 1504085027 h 608"/>
                <a:gd name="T48" fmla="*/ 1254717850 w 708"/>
                <a:gd name="T49" fmla="*/ 1731768692 h 608"/>
                <a:gd name="T50" fmla="*/ 779028543 w 708"/>
                <a:gd name="T51" fmla="*/ 1504085027 h 608"/>
                <a:gd name="T52" fmla="*/ 117198627 w 708"/>
                <a:gd name="T53" fmla="*/ 1338498489 h 608"/>
                <a:gd name="T54" fmla="*/ 55151833 w 708"/>
                <a:gd name="T55" fmla="*/ 1172912279 h 608"/>
                <a:gd name="T56" fmla="*/ 117198627 w 708"/>
                <a:gd name="T57" fmla="*/ 903832061 h 608"/>
                <a:gd name="T58" fmla="*/ 427429994 w 708"/>
                <a:gd name="T59" fmla="*/ 745143526 h 608"/>
                <a:gd name="T60" fmla="*/ 841075317 w 708"/>
                <a:gd name="T61" fmla="*/ 476063144 h 608"/>
                <a:gd name="T62" fmla="*/ 1089259787 w 708"/>
                <a:gd name="T63" fmla="*/ 269080300 h 608"/>
                <a:gd name="T64" fmla="*/ 1523584906 w 708"/>
                <a:gd name="T65" fmla="*/ 103491422 h 608"/>
                <a:gd name="T66" fmla="*/ 1606313938 w 708"/>
                <a:gd name="T67" fmla="*/ 413968315 h 608"/>
                <a:gd name="T68" fmla="*/ 1564949422 w 708"/>
                <a:gd name="T69" fmla="*/ 683048533 h 608"/>
                <a:gd name="T70" fmla="*/ 1730407486 w 708"/>
                <a:gd name="T71" fmla="*/ 862435509 h 608"/>
                <a:gd name="T72" fmla="*/ 1833818775 w 708"/>
                <a:gd name="T73" fmla="*/ 1007323443 h 608"/>
                <a:gd name="T74" fmla="*/ 2147483647 w 708"/>
                <a:gd name="T75" fmla="*/ 965926890 h 608"/>
                <a:gd name="T76" fmla="*/ 2095790542 w 708"/>
                <a:gd name="T77" fmla="*/ 1297101936 h 608"/>
                <a:gd name="T78" fmla="*/ 2147483647 w 708"/>
                <a:gd name="T79" fmla="*/ 1483386751 h 608"/>
                <a:gd name="T80" fmla="*/ 2147483647 w 708"/>
                <a:gd name="T81" fmla="*/ 1773165245 h 608"/>
                <a:gd name="T82" fmla="*/ 2147483647 w 708"/>
                <a:gd name="T83" fmla="*/ 1586880759 h 608"/>
                <a:gd name="T84" fmla="*/ 2147483647 w 708"/>
                <a:gd name="T85" fmla="*/ 1628277311 h 608"/>
                <a:gd name="T86" fmla="*/ 2147483647 w 708"/>
                <a:gd name="T87" fmla="*/ 1483386751 h 608"/>
                <a:gd name="T88" fmla="*/ 2147483647 w 708"/>
                <a:gd name="T89" fmla="*/ 1752466969 h 608"/>
                <a:gd name="T90" fmla="*/ 2147483647 w 708"/>
                <a:gd name="T91" fmla="*/ 2147483647 h 608"/>
                <a:gd name="T92" fmla="*/ 2147483647 w 708"/>
                <a:gd name="T93" fmla="*/ 2147483647 h 608"/>
                <a:gd name="T94" fmla="*/ 2147483647 w 708"/>
                <a:gd name="T95" fmla="*/ 2147483647 h 608"/>
                <a:gd name="T96" fmla="*/ 2147483647 w 708"/>
                <a:gd name="T97" fmla="*/ 2147483647 h 608"/>
                <a:gd name="T98" fmla="*/ 2147483647 w 708"/>
                <a:gd name="T99" fmla="*/ 2147483647 h 608"/>
                <a:gd name="T100" fmla="*/ 2147483647 w 708"/>
                <a:gd name="T101" fmla="*/ 2147483647 h 608"/>
                <a:gd name="T102" fmla="*/ 2147483647 w 708"/>
                <a:gd name="T103" fmla="*/ 2147483647 h 608"/>
                <a:gd name="T104" fmla="*/ 2147483647 w 708"/>
                <a:gd name="T105" fmla="*/ 2147483647 h 608"/>
                <a:gd name="T106" fmla="*/ 2147483647 w 708"/>
                <a:gd name="T107" fmla="*/ 2147483647 h 608"/>
                <a:gd name="T108" fmla="*/ 2147483647 w 708"/>
                <a:gd name="T109" fmla="*/ 2147483647 h 608"/>
                <a:gd name="T110" fmla="*/ 2147483647 w 708"/>
                <a:gd name="T111" fmla="*/ 2147483647 h 608"/>
                <a:gd name="T112" fmla="*/ 2147483647 w 708"/>
                <a:gd name="T113" fmla="*/ 2147483647 h 608"/>
                <a:gd name="T114" fmla="*/ 2147483647 w 708"/>
                <a:gd name="T115" fmla="*/ 2147483647 h 608"/>
                <a:gd name="T116" fmla="*/ 2147483647 w 708"/>
                <a:gd name="T117" fmla="*/ 2147483647 h 60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08"/>
                <a:gd name="T178" fmla="*/ 0 h 608"/>
                <a:gd name="T179" fmla="*/ 708 w 708"/>
                <a:gd name="T180" fmla="*/ 608 h 60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08" h="608">
                  <a:moveTo>
                    <a:pt x="657" y="476"/>
                  </a:moveTo>
                  <a:cubicBezTo>
                    <a:pt x="642" y="464"/>
                    <a:pt x="630" y="464"/>
                    <a:pt x="615" y="464"/>
                  </a:cubicBezTo>
                  <a:cubicBezTo>
                    <a:pt x="612" y="467"/>
                    <a:pt x="609" y="467"/>
                    <a:pt x="606" y="467"/>
                  </a:cubicBezTo>
                  <a:cubicBezTo>
                    <a:pt x="594" y="485"/>
                    <a:pt x="600" y="503"/>
                    <a:pt x="609" y="524"/>
                  </a:cubicBezTo>
                  <a:cubicBezTo>
                    <a:pt x="609" y="533"/>
                    <a:pt x="612" y="542"/>
                    <a:pt x="609" y="554"/>
                  </a:cubicBezTo>
                  <a:cubicBezTo>
                    <a:pt x="600" y="554"/>
                    <a:pt x="591" y="554"/>
                    <a:pt x="583" y="554"/>
                  </a:cubicBezTo>
                  <a:cubicBezTo>
                    <a:pt x="577" y="557"/>
                    <a:pt x="580" y="557"/>
                    <a:pt x="577" y="566"/>
                  </a:cubicBezTo>
                  <a:cubicBezTo>
                    <a:pt x="580" y="569"/>
                    <a:pt x="583" y="572"/>
                    <a:pt x="588" y="575"/>
                  </a:cubicBezTo>
                  <a:cubicBezTo>
                    <a:pt x="588" y="578"/>
                    <a:pt x="588" y="578"/>
                    <a:pt x="588" y="581"/>
                  </a:cubicBezTo>
                  <a:cubicBezTo>
                    <a:pt x="585" y="587"/>
                    <a:pt x="583" y="593"/>
                    <a:pt x="583" y="596"/>
                  </a:cubicBezTo>
                  <a:cubicBezTo>
                    <a:pt x="571" y="596"/>
                    <a:pt x="568" y="602"/>
                    <a:pt x="559" y="605"/>
                  </a:cubicBezTo>
                  <a:cubicBezTo>
                    <a:pt x="550" y="605"/>
                    <a:pt x="538" y="605"/>
                    <a:pt x="529" y="608"/>
                  </a:cubicBezTo>
                  <a:cubicBezTo>
                    <a:pt x="529" y="605"/>
                    <a:pt x="529" y="605"/>
                    <a:pt x="526" y="605"/>
                  </a:cubicBezTo>
                  <a:cubicBezTo>
                    <a:pt x="523" y="599"/>
                    <a:pt x="517" y="596"/>
                    <a:pt x="514" y="596"/>
                  </a:cubicBezTo>
                  <a:cubicBezTo>
                    <a:pt x="514" y="593"/>
                    <a:pt x="514" y="590"/>
                    <a:pt x="511" y="587"/>
                  </a:cubicBezTo>
                  <a:cubicBezTo>
                    <a:pt x="508" y="578"/>
                    <a:pt x="505" y="572"/>
                    <a:pt x="502" y="563"/>
                  </a:cubicBezTo>
                  <a:cubicBezTo>
                    <a:pt x="496" y="560"/>
                    <a:pt x="493" y="557"/>
                    <a:pt x="487" y="554"/>
                  </a:cubicBezTo>
                  <a:cubicBezTo>
                    <a:pt x="481" y="545"/>
                    <a:pt x="472" y="542"/>
                    <a:pt x="466" y="539"/>
                  </a:cubicBezTo>
                  <a:cubicBezTo>
                    <a:pt x="463" y="536"/>
                    <a:pt x="460" y="536"/>
                    <a:pt x="457" y="533"/>
                  </a:cubicBezTo>
                  <a:cubicBezTo>
                    <a:pt x="445" y="506"/>
                    <a:pt x="439" y="509"/>
                    <a:pt x="418" y="521"/>
                  </a:cubicBezTo>
                  <a:cubicBezTo>
                    <a:pt x="412" y="530"/>
                    <a:pt x="412" y="527"/>
                    <a:pt x="412" y="539"/>
                  </a:cubicBezTo>
                  <a:cubicBezTo>
                    <a:pt x="415" y="545"/>
                    <a:pt x="418" y="548"/>
                    <a:pt x="418" y="557"/>
                  </a:cubicBezTo>
                  <a:cubicBezTo>
                    <a:pt x="412" y="560"/>
                    <a:pt x="412" y="563"/>
                    <a:pt x="403" y="566"/>
                  </a:cubicBezTo>
                  <a:cubicBezTo>
                    <a:pt x="403" y="566"/>
                    <a:pt x="400" y="566"/>
                    <a:pt x="397" y="566"/>
                  </a:cubicBezTo>
                  <a:cubicBezTo>
                    <a:pt x="379" y="557"/>
                    <a:pt x="364" y="545"/>
                    <a:pt x="358" y="536"/>
                  </a:cubicBezTo>
                  <a:cubicBezTo>
                    <a:pt x="346" y="530"/>
                    <a:pt x="346" y="509"/>
                    <a:pt x="346" y="506"/>
                  </a:cubicBezTo>
                  <a:cubicBezTo>
                    <a:pt x="352" y="506"/>
                    <a:pt x="361" y="506"/>
                    <a:pt x="367" y="506"/>
                  </a:cubicBezTo>
                  <a:cubicBezTo>
                    <a:pt x="373" y="509"/>
                    <a:pt x="379" y="515"/>
                    <a:pt x="385" y="518"/>
                  </a:cubicBezTo>
                  <a:cubicBezTo>
                    <a:pt x="391" y="518"/>
                    <a:pt x="400" y="521"/>
                    <a:pt x="409" y="512"/>
                  </a:cubicBezTo>
                  <a:cubicBezTo>
                    <a:pt x="409" y="509"/>
                    <a:pt x="409" y="506"/>
                    <a:pt x="409" y="503"/>
                  </a:cubicBezTo>
                  <a:cubicBezTo>
                    <a:pt x="400" y="497"/>
                    <a:pt x="394" y="488"/>
                    <a:pt x="391" y="485"/>
                  </a:cubicBezTo>
                  <a:cubicBezTo>
                    <a:pt x="403" y="479"/>
                    <a:pt x="421" y="458"/>
                    <a:pt x="424" y="446"/>
                  </a:cubicBezTo>
                  <a:cubicBezTo>
                    <a:pt x="430" y="443"/>
                    <a:pt x="436" y="440"/>
                    <a:pt x="439" y="437"/>
                  </a:cubicBezTo>
                  <a:cubicBezTo>
                    <a:pt x="442" y="437"/>
                    <a:pt x="445" y="431"/>
                    <a:pt x="448" y="428"/>
                  </a:cubicBezTo>
                  <a:cubicBezTo>
                    <a:pt x="448" y="422"/>
                    <a:pt x="448" y="416"/>
                    <a:pt x="448" y="410"/>
                  </a:cubicBezTo>
                  <a:cubicBezTo>
                    <a:pt x="436" y="398"/>
                    <a:pt x="442" y="380"/>
                    <a:pt x="439" y="380"/>
                  </a:cubicBezTo>
                  <a:cubicBezTo>
                    <a:pt x="436" y="371"/>
                    <a:pt x="430" y="362"/>
                    <a:pt x="427" y="356"/>
                  </a:cubicBezTo>
                  <a:cubicBezTo>
                    <a:pt x="427" y="350"/>
                    <a:pt x="427" y="344"/>
                    <a:pt x="424" y="338"/>
                  </a:cubicBezTo>
                  <a:cubicBezTo>
                    <a:pt x="421" y="329"/>
                    <a:pt x="415" y="314"/>
                    <a:pt x="412" y="311"/>
                  </a:cubicBezTo>
                  <a:cubicBezTo>
                    <a:pt x="403" y="311"/>
                    <a:pt x="397" y="311"/>
                    <a:pt x="388" y="311"/>
                  </a:cubicBezTo>
                  <a:cubicBezTo>
                    <a:pt x="373" y="308"/>
                    <a:pt x="358" y="293"/>
                    <a:pt x="349" y="290"/>
                  </a:cubicBezTo>
                  <a:cubicBezTo>
                    <a:pt x="343" y="281"/>
                    <a:pt x="334" y="269"/>
                    <a:pt x="325" y="260"/>
                  </a:cubicBezTo>
                  <a:cubicBezTo>
                    <a:pt x="319" y="260"/>
                    <a:pt x="316" y="263"/>
                    <a:pt x="310" y="263"/>
                  </a:cubicBezTo>
                  <a:cubicBezTo>
                    <a:pt x="307" y="263"/>
                    <a:pt x="304" y="263"/>
                    <a:pt x="298" y="263"/>
                  </a:cubicBezTo>
                  <a:cubicBezTo>
                    <a:pt x="293" y="257"/>
                    <a:pt x="284" y="251"/>
                    <a:pt x="278" y="245"/>
                  </a:cubicBezTo>
                  <a:cubicBezTo>
                    <a:pt x="269" y="242"/>
                    <a:pt x="263" y="239"/>
                    <a:pt x="257" y="236"/>
                  </a:cubicBezTo>
                  <a:cubicBezTo>
                    <a:pt x="242" y="233"/>
                    <a:pt x="233" y="230"/>
                    <a:pt x="224" y="230"/>
                  </a:cubicBezTo>
                  <a:cubicBezTo>
                    <a:pt x="209" y="215"/>
                    <a:pt x="203" y="221"/>
                    <a:pt x="188" y="218"/>
                  </a:cubicBezTo>
                  <a:cubicBezTo>
                    <a:pt x="185" y="221"/>
                    <a:pt x="182" y="224"/>
                    <a:pt x="179" y="224"/>
                  </a:cubicBezTo>
                  <a:cubicBezTo>
                    <a:pt x="179" y="233"/>
                    <a:pt x="185" y="239"/>
                    <a:pt x="182" y="251"/>
                  </a:cubicBezTo>
                  <a:cubicBezTo>
                    <a:pt x="167" y="266"/>
                    <a:pt x="140" y="239"/>
                    <a:pt x="134" y="233"/>
                  </a:cubicBezTo>
                  <a:cubicBezTo>
                    <a:pt x="128" y="227"/>
                    <a:pt x="122" y="221"/>
                    <a:pt x="113" y="218"/>
                  </a:cubicBezTo>
                  <a:cubicBezTo>
                    <a:pt x="101" y="209"/>
                    <a:pt x="89" y="203"/>
                    <a:pt x="77" y="200"/>
                  </a:cubicBezTo>
                  <a:cubicBezTo>
                    <a:pt x="56" y="200"/>
                    <a:pt x="35" y="200"/>
                    <a:pt x="17" y="194"/>
                  </a:cubicBezTo>
                  <a:cubicBezTo>
                    <a:pt x="14" y="194"/>
                    <a:pt x="14" y="194"/>
                    <a:pt x="14" y="194"/>
                  </a:cubicBezTo>
                  <a:cubicBezTo>
                    <a:pt x="14" y="185"/>
                    <a:pt x="8" y="170"/>
                    <a:pt x="8" y="170"/>
                  </a:cubicBezTo>
                  <a:cubicBezTo>
                    <a:pt x="6" y="158"/>
                    <a:pt x="0" y="149"/>
                    <a:pt x="8" y="146"/>
                  </a:cubicBezTo>
                  <a:cubicBezTo>
                    <a:pt x="11" y="140"/>
                    <a:pt x="14" y="134"/>
                    <a:pt x="17" y="131"/>
                  </a:cubicBezTo>
                  <a:cubicBezTo>
                    <a:pt x="29" y="131"/>
                    <a:pt x="47" y="131"/>
                    <a:pt x="59" y="120"/>
                  </a:cubicBezTo>
                  <a:cubicBezTo>
                    <a:pt x="59" y="114"/>
                    <a:pt x="62" y="111"/>
                    <a:pt x="62" y="108"/>
                  </a:cubicBezTo>
                  <a:cubicBezTo>
                    <a:pt x="68" y="102"/>
                    <a:pt x="71" y="99"/>
                    <a:pt x="74" y="96"/>
                  </a:cubicBezTo>
                  <a:cubicBezTo>
                    <a:pt x="83" y="69"/>
                    <a:pt x="92" y="72"/>
                    <a:pt x="122" y="69"/>
                  </a:cubicBezTo>
                  <a:cubicBezTo>
                    <a:pt x="125" y="69"/>
                    <a:pt x="152" y="69"/>
                    <a:pt x="161" y="63"/>
                  </a:cubicBezTo>
                  <a:cubicBezTo>
                    <a:pt x="161" y="54"/>
                    <a:pt x="158" y="45"/>
                    <a:pt x="158" y="39"/>
                  </a:cubicBezTo>
                  <a:cubicBezTo>
                    <a:pt x="158" y="24"/>
                    <a:pt x="158" y="0"/>
                    <a:pt x="176" y="9"/>
                  </a:cubicBezTo>
                  <a:cubicBezTo>
                    <a:pt x="191" y="12"/>
                    <a:pt x="206" y="15"/>
                    <a:pt x="221" y="15"/>
                  </a:cubicBezTo>
                  <a:cubicBezTo>
                    <a:pt x="218" y="21"/>
                    <a:pt x="218" y="30"/>
                    <a:pt x="218" y="36"/>
                  </a:cubicBezTo>
                  <a:cubicBezTo>
                    <a:pt x="224" y="45"/>
                    <a:pt x="227" y="48"/>
                    <a:pt x="233" y="60"/>
                  </a:cubicBezTo>
                  <a:cubicBezTo>
                    <a:pt x="233" y="66"/>
                    <a:pt x="233" y="69"/>
                    <a:pt x="233" y="72"/>
                  </a:cubicBezTo>
                  <a:cubicBezTo>
                    <a:pt x="230" y="81"/>
                    <a:pt x="224" y="87"/>
                    <a:pt x="227" y="99"/>
                  </a:cubicBezTo>
                  <a:cubicBezTo>
                    <a:pt x="233" y="105"/>
                    <a:pt x="242" y="111"/>
                    <a:pt x="248" y="120"/>
                  </a:cubicBezTo>
                  <a:cubicBezTo>
                    <a:pt x="248" y="120"/>
                    <a:pt x="251" y="123"/>
                    <a:pt x="251" y="125"/>
                  </a:cubicBezTo>
                  <a:cubicBezTo>
                    <a:pt x="251" y="131"/>
                    <a:pt x="251" y="137"/>
                    <a:pt x="251" y="146"/>
                  </a:cubicBezTo>
                  <a:cubicBezTo>
                    <a:pt x="254" y="146"/>
                    <a:pt x="260" y="146"/>
                    <a:pt x="266" y="146"/>
                  </a:cubicBezTo>
                  <a:cubicBezTo>
                    <a:pt x="281" y="134"/>
                    <a:pt x="304" y="131"/>
                    <a:pt x="328" y="131"/>
                  </a:cubicBezTo>
                  <a:cubicBezTo>
                    <a:pt x="328" y="134"/>
                    <a:pt x="331" y="137"/>
                    <a:pt x="331" y="140"/>
                  </a:cubicBezTo>
                  <a:cubicBezTo>
                    <a:pt x="328" y="146"/>
                    <a:pt x="325" y="152"/>
                    <a:pt x="325" y="155"/>
                  </a:cubicBezTo>
                  <a:cubicBezTo>
                    <a:pt x="313" y="170"/>
                    <a:pt x="301" y="167"/>
                    <a:pt x="304" y="188"/>
                  </a:cubicBezTo>
                  <a:cubicBezTo>
                    <a:pt x="307" y="188"/>
                    <a:pt x="313" y="191"/>
                    <a:pt x="319" y="194"/>
                  </a:cubicBezTo>
                  <a:cubicBezTo>
                    <a:pt x="325" y="203"/>
                    <a:pt x="328" y="206"/>
                    <a:pt x="343" y="215"/>
                  </a:cubicBezTo>
                  <a:cubicBezTo>
                    <a:pt x="346" y="221"/>
                    <a:pt x="349" y="236"/>
                    <a:pt x="358" y="239"/>
                  </a:cubicBezTo>
                  <a:cubicBezTo>
                    <a:pt x="364" y="245"/>
                    <a:pt x="370" y="251"/>
                    <a:pt x="376" y="257"/>
                  </a:cubicBezTo>
                  <a:cubicBezTo>
                    <a:pt x="379" y="260"/>
                    <a:pt x="397" y="269"/>
                    <a:pt x="403" y="257"/>
                  </a:cubicBezTo>
                  <a:cubicBezTo>
                    <a:pt x="403" y="236"/>
                    <a:pt x="400" y="233"/>
                    <a:pt x="418" y="230"/>
                  </a:cubicBezTo>
                  <a:cubicBezTo>
                    <a:pt x="427" y="230"/>
                    <a:pt x="433" y="227"/>
                    <a:pt x="442" y="236"/>
                  </a:cubicBezTo>
                  <a:cubicBezTo>
                    <a:pt x="445" y="236"/>
                    <a:pt x="448" y="236"/>
                    <a:pt x="451" y="236"/>
                  </a:cubicBezTo>
                  <a:cubicBezTo>
                    <a:pt x="460" y="233"/>
                    <a:pt x="469" y="224"/>
                    <a:pt x="478" y="221"/>
                  </a:cubicBezTo>
                  <a:cubicBezTo>
                    <a:pt x="481" y="218"/>
                    <a:pt x="487" y="218"/>
                    <a:pt x="496" y="215"/>
                  </a:cubicBezTo>
                  <a:cubicBezTo>
                    <a:pt x="499" y="221"/>
                    <a:pt x="502" y="224"/>
                    <a:pt x="502" y="227"/>
                  </a:cubicBezTo>
                  <a:cubicBezTo>
                    <a:pt x="502" y="236"/>
                    <a:pt x="487" y="248"/>
                    <a:pt x="478" y="254"/>
                  </a:cubicBezTo>
                  <a:cubicBezTo>
                    <a:pt x="469" y="266"/>
                    <a:pt x="466" y="275"/>
                    <a:pt x="466" y="293"/>
                  </a:cubicBezTo>
                  <a:cubicBezTo>
                    <a:pt x="472" y="302"/>
                    <a:pt x="475" y="308"/>
                    <a:pt x="478" y="317"/>
                  </a:cubicBezTo>
                  <a:cubicBezTo>
                    <a:pt x="484" y="323"/>
                    <a:pt x="493" y="335"/>
                    <a:pt x="508" y="335"/>
                  </a:cubicBezTo>
                  <a:cubicBezTo>
                    <a:pt x="508" y="332"/>
                    <a:pt x="508" y="332"/>
                    <a:pt x="508" y="332"/>
                  </a:cubicBezTo>
                  <a:cubicBezTo>
                    <a:pt x="511" y="332"/>
                    <a:pt x="514" y="332"/>
                    <a:pt x="514" y="332"/>
                  </a:cubicBezTo>
                  <a:cubicBezTo>
                    <a:pt x="523" y="335"/>
                    <a:pt x="544" y="356"/>
                    <a:pt x="553" y="368"/>
                  </a:cubicBezTo>
                  <a:cubicBezTo>
                    <a:pt x="553" y="380"/>
                    <a:pt x="556" y="395"/>
                    <a:pt x="559" y="410"/>
                  </a:cubicBezTo>
                  <a:cubicBezTo>
                    <a:pt x="559" y="416"/>
                    <a:pt x="559" y="422"/>
                    <a:pt x="562" y="425"/>
                  </a:cubicBezTo>
                  <a:cubicBezTo>
                    <a:pt x="571" y="437"/>
                    <a:pt x="571" y="434"/>
                    <a:pt x="588" y="449"/>
                  </a:cubicBezTo>
                  <a:cubicBezTo>
                    <a:pt x="588" y="449"/>
                    <a:pt x="600" y="443"/>
                    <a:pt x="609" y="440"/>
                  </a:cubicBezTo>
                  <a:cubicBezTo>
                    <a:pt x="609" y="434"/>
                    <a:pt x="612" y="431"/>
                    <a:pt x="624" y="428"/>
                  </a:cubicBezTo>
                  <a:cubicBezTo>
                    <a:pt x="636" y="416"/>
                    <a:pt x="630" y="404"/>
                    <a:pt x="621" y="395"/>
                  </a:cubicBezTo>
                  <a:cubicBezTo>
                    <a:pt x="606" y="392"/>
                    <a:pt x="606" y="389"/>
                    <a:pt x="609" y="377"/>
                  </a:cubicBezTo>
                  <a:cubicBezTo>
                    <a:pt x="612" y="371"/>
                    <a:pt x="615" y="368"/>
                    <a:pt x="618" y="362"/>
                  </a:cubicBezTo>
                  <a:cubicBezTo>
                    <a:pt x="618" y="359"/>
                    <a:pt x="618" y="353"/>
                    <a:pt x="618" y="347"/>
                  </a:cubicBezTo>
                  <a:cubicBezTo>
                    <a:pt x="621" y="344"/>
                    <a:pt x="627" y="347"/>
                    <a:pt x="630" y="344"/>
                  </a:cubicBezTo>
                  <a:cubicBezTo>
                    <a:pt x="636" y="341"/>
                    <a:pt x="639" y="338"/>
                    <a:pt x="642" y="335"/>
                  </a:cubicBezTo>
                  <a:cubicBezTo>
                    <a:pt x="642" y="338"/>
                    <a:pt x="645" y="344"/>
                    <a:pt x="639" y="350"/>
                  </a:cubicBezTo>
                  <a:cubicBezTo>
                    <a:pt x="639" y="353"/>
                    <a:pt x="639" y="356"/>
                    <a:pt x="639" y="362"/>
                  </a:cubicBezTo>
                  <a:cubicBezTo>
                    <a:pt x="645" y="368"/>
                    <a:pt x="660" y="371"/>
                    <a:pt x="672" y="374"/>
                  </a:cubicBezTo>
                  <a:cubicBezTo>
                    <a:pt x="681" y="380"/>
                    <a:pt x="690" y="386"/>
                    <a:pt x="699" y="392"/>
                  </a:cubicBezTo>
                  <a:cubicBezTo>
                    <a:pt x="702" y="392"/>
                    <a:pt x="705" y="392"/>
                    <a:pt x="708" y="392"/>
                  </a:cubicBezTo>
                  <a:cubicBezTo>
                    <a:pt x="705" y="395"/>
                    <a:pt x="702" y="401"/>
                    <a:pt x="699" y="407"/>
                  </a:cubicBezTo>
                  <a:cubicBezTo>
                    <a:pt x="702" y="416"/>
                    <a:pt x="702" y="425"/>
                    <a:pt x="702" y="437"/>
                  </a:cubicBezTo>
                  <a:cubicBezTo>
                    <a:pt x="702" y="440"/>
                    <a:pt x="699" y="446"/>
                    <a:pt x="699" y="452"/>
                  </a:cubicBezTo>
                  <a:cubicBezTo>
                    <a:pt x="696" y="452"/>
                    <a:pt x="693" y="452"/>
                    <a:pt x="690" y="449"/>
                  </a:cubicBezTo>
                  <a:cubicBezTo>
                    <a:pt x="678" y="446"/>
                    <a:pt x="669" y="446"/>
                    <a:pt x="663" y="455"/>
                  </a:cubicBezTo>
                  <a:cubicBezTo>
                    <a:pt x="663" y="461"/>
                    <a:pt x="663" y="467"/>
                    <a:pt x="663" y="476"/>
                  </a:cubicBezTo>
                  <a:cubicBezTo>
                    <a:pt x="660" y="476"/>
                    <a:pt x="660" y="476"/>
                    <a:pt x="657" y="476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2" name="Freeform 17"/>
            <p:cNvSpPr>
              <a:spLocks/>
            </p:cNvSpPr>
            <p:nvPr/>
          </p:nvSpPr>
          <p:spPr bwMode="auto">
            <a:xfrm>
              <a:off x="7328243" y="2441280"/>
              <a:ext cx="143139" cy="256086"/>
            </a:xfrm>
            <a:custGeom>
              <a:avLst/>
              <a:gdLst>
                <a:gd name="T0" fmla="*/ 1170724528 w 245"/>
                <a:gd name="T1" fmla="*/ 2147483647 h 444"/>
                <a:gd name="T2" fmla="*/ 943468308 w 245"/>
                <a:gd name="T3" fmla="*/ 2147483647 h 444"/>
                <a:gd name="T4" fmla="*/ 860828490 w 245"/>
                <a:gd name="T5" fmla="*/ 2147483647 h 444"/>
                <a:gd name="T6" fmla="*/ 612908870 w 245"/>
                <a:gd name="T7" fmla="*/ 2147483647 h 444"/>
                <a:gd name="T8" fmla="*/ 509611066 w 245"/>
                <a:gd name="T9" fmla="*/ 2147483647 h 444"/>
                <a:gd name="T10" fmla="*/ 323670736 w 245"/>
                <a:gd name="T11" fmla="*/ 2147483647 h 444"/>
                <a:gd name="T12" fmla="*/ 179051710 w 245"/>
                <a:gd name="T13" fmla="*/ 2147483647 h 444"/>
                <a:gd name="T14" fmla="*/ 34432612 w 245"/>
                <a:gd name="T15" fmla="*/ 2147483647 h 444"/>
                <a:gd name="T16" fmla="*/ 55093233 w 245"/>
                <a:gd name="T17" fmla="*/ 2147483647 h 444"/>
                <a:gd name="T18" fmla="*/ 13771996 w 245"/>
                <a:gd name="T19" fmla="*/ 2147483647 h 444"/>
                <a:gd name="T20" fmla="*/ 0 w 245"/>
                <a:gd name="T21" fmla="*/ 2147483647 h 444"/>
                <a:gd name="T22" fmla="*/ 199712320 w 245"/>
                <a:gd name="T23" fmla="*/ 2147483647 h 444"/>
                <a:gd name="T24" fmla="*/ 220372931 w 245"/>
                <a:gd name="T25" fmla="*/ 2147483647 h 444"/>
                <a:gd name="T26" fmla="*/ 179051710 w 245"/>
                <a:gd name="T27" fmla="*/ 2071847386 h 444"/>
                <a:gd name="T28" fmla="*/ 364992039 w 245"/>
                <a:gd name="T29" fmla="*/ 1823226935 h 444"/>
                <a:gd name="T30" fmla="*/ 509611066 w 245"/>
                <a:gd name="T31" fmla="*/ 1906099543 h 444"/>
                <a:gd name="T32" fmla="*/ 592248260 w 245"/>
                <a:gd name="T33" fmla="*/ 1885380734 h 444"/>
                <a:gd name="T34" fmla="*/ 592248260 w 245"/>
                <a:gd name="T35" fmla="*/ 1740351699 h 444"/>
                <a:gd name="T36" fmla="*/ 736867450 w 245"/>
                <a:gd name="T37" fmla="*/ 1719632890 h 444"/>
                <a:gd name="T38" fmla="*/ 819507268 w 245"/>
                <a:gd name="T39" fmla="*/ 1719632890 h 444"/>
                <a:gd name="T40" fmla="*/ 840167879 w 245"/>
                <a:gd name="T41" fmla="*/ 1429574821 h 444"/>
                <a:gd name="T42" fmla="*/ 881486476 w 245"/>
                <a:gd name="T43" fmla="*/ 1325983076 h 444"/>
                <a:gd name="T44" fmla="*/ 881486476 w 245"/>
                <a:gd name="T45" fmla="*/ 1263826649 h 444"/>
                <a:gd name="T46" fmla="*/ 819507268 w 245"/>
                <a:gd name="T47" fmla="*/ 1243107840 h 444"/>
                <a:gd name="T48" fmla="*/ 654230092 w 245"/>
                <a:gd name="T49" fmla="*/ 1118797615 h 444"/>
                <a:gd name="T50" fmla="*/ 426971247 w 245"/>
                <a:gd name="T51" fmla="*/ 1056643816 h 444"/>
                <a:gd name="T52" fmla="*/ 468289844 w 245"/>
                <a:gd name="T53" fmla="*/ 973768580 h 444"/>
                <a:gd name="T54" fmla="*/ 447629234 w 245"/>
                <a:gd name="T55" fmla="*/ 849458355 h 444"/>
                <a:gd name="T56" fmla="*/ 509611066 w 245"/>
                <a:gd name="T57" fmla="*/ 766583119 h 444"/>
                <a:gd name="T58" fmla="*/ 633569481 w 245"/>
                <a:gd name="T59" fmla="*/ 787301928 h 444"/>
                <a:gd name="T60" fmla="*/ 902147087 w 245"/>
                <a:gd name="T61" fmla="*/ 787301928 h 444"/>
                <a:gd name="T62" fmla="*/ 943468308 w 245"/>
                <a:gd name="T63" fmla="*/ 497243695 h 444"/>
                <a:gd name="T64" fmla="*/ 1046766113 w 245"/>
                <a:gd name="T65" fmla="*/ 352214660 h 444"/>
                <a:gd name="T66" fmla="*/ 1150066542 w 245"/>
                <a:gd name="T67" fmla="*/ 207185543 h 444"/>
                <a:gd name="T68" fmla="*/ 1253364347 w 245"/>
                <a:gd name="T69" fmla="*/ 124310267 h 444"/>
                <a:gd name="T70" fmla="*/ 1315343555 w 245"/>
                <a:gd name="T71" fmla="*/ 41437628 h 444"/>
                <a:gd name="T72" fmla="*/ 1377323090 w 245"/>
                <a:gd name="T73" fmla="*/ 82872628 h 444"/>
                <a:gd name="T74" fmla="*/ 1397983701 w 245"/>
                <a:gd name="T75" fmla="*/ 82872628 h 444"/>
                <a:gd name="T76" fmla="*/ 1480623520 w 245"/>
                <a:gd name="T77" fmla="*/ 0 h 444"/>
                <a:gd name="T78" fmla="*/ 1583921324 w 245"/>
                <a:gd name="T79" fmla="*/ 103591458 h 444"/>
                <a:gd name="T80" fmla="*/ 1542602727 w 245"/>
                <a:gd name="T81" fmla="*/ 165747885 h 444"/>
                <a:gd name="T82" fmla="*/ 1459962909 w 245"/>
                <a:gd name="T83" fmla="*/ 435087268 h 444"/>
                <a:gd name="T84" fmla="*/ 1480623520 w 245"/>
                <a:gd name="T85" fmla="*/ 787301928 h 444"/>
                <a:gd name="T86" fmla="*/ 1377323090 w 245"/>
                <a:gd name="T87" fmla="*/ 1035925007 h 444"/>
                <a:gd name="T88" fmla="*/ 1377323090 w 245"/>
                <a:gd name="T89" fmla="*/ 1325983076 h 444"/>
                <a:gd name="T90" fmla="*/ 1439304922 w 245"/>
                <a:gd name="T91" fmla="*/ 1553885047 h 444"/>
                <a:gd name="T92" fmla="*/ 1418644312 w 245"/>
                <a:gd name="T93" fmla="*/ 1843945744 h 444"/>
                <a:gd name="T94" fmla="*/ 1480623520 w 245"/>
                <a:gd name="T95" fmla="*/ 1947537160 h 444"/>
                <a:gd name="T96" fmla="*/ 1480623520 w 245"/>
                <a:gd name="T97" fmla="*/ 2071847386 h 444"/>
                <a:gd name="T98" fmla="*/ 1563263338 w 245"/>
                <a:gd name="T99" fmla="*/ 2147483647 h 444"/>
                <a:gd name="T100" fmla="*/ 1687221753 w 245"/>
                <a:gd name="T101" fmla="*/ 2147483647 h 444"/>
                <a:gd name="T102" fmla="*/ 1583921324 w 245"/>
                <a:gd name="T103" fmla="*/ 2147483647 h 444"/>
                <a:gd name="T104" fmla="*/ 1212045750 w 245"/>
                <a:gd name="T105" fmla="*/ 2147483647 h 444"/>
                <a:gd name="T106" fmla="*/ 1212045750 w 245"/>
                <a:gd name="T107" fmla="*/ 2147483647 h 444"/>
                <a:gd name="T108" fmla="*/ 1356664776 w 245"/>
                <a:gd name="T109" fmla="*/ 2147483647 h 444"/>
                <a:gd name="T110" fmla="*/ 1356664776 w 245"/>
                <a:gd name="T111" fmla="*/ 2147483647 h 444"/>
                <a:gd name="T112" fmla="*/ 1191385139 w 245"/>
                <a:gd name="T113" fmla="*/ 2147483647 h 444"/>
                <a:gd name="T114" fmla="*/ 1191385139 w 245"/>
                <a:gd name="T115" fmla="*/ 2147483647 h 444"/>
                <a:gd name="T116" fmla="*/ 1170724528 w 245"/>
                <a:gd name="T117" fmla="*/ 2147483647 h 44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45"/>
                <a:gd name="T178" fmla="*/ 0 h 444"/>
                <a:gd name="T179" fmla="*/ 245 w 245"/>
                <a:gd name="T180" fmla="*/ 444 h 44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45" h="444">
                  <a:moveTo>
                    <a:pt x="170" y="444"/>
                  </a:moveTo>
                  <a:cubicBezTo>
                    <a:pt x="152" y="438"/>
                    <a:pt x="149" y="429"/>
                    <a:pt x="137" y="420"/>
                  </a:cubicBezTo>
                  <a:cubicBezTo>
                    <a:pt x="134" y="420"/>
                    <a:pt x="131" y="417"/>
                    <a:pt x="125" y="417"/>
                  </a:cubicBezTo>
                  <a:cubicBezTo>
                    <a:pt x="113" y="417"/>
                    <a:pt x="98" y="417"/>
                    <a:pt x="89" y="423"/>
                  </a:cubicBezTo>
                  <a:cubicBezTo>
                    <a:pt x="83" y="423"/>
                    <a:pt x="74" y="414"/>
                    <a:pt x="74" y="411"/>
                  </a:cubicBezTo>
                  <a:cubicBezTo>
                    <a:pt x="56" y="411"/>
                    <a:pt x="53" y="402"/>
                    <a:pt x="47" y="399"/>
                  </a:cubicBezTo>
                  <a:cubicBezTo>
                    <a:pt x="41" y="399"/>
                    <a:pt x="35" y="399"/>
                    <a:pt x="26" y="399"/>
                  </a:cubicBezTo>
                  <a:cubicBezTo>
                    <a:pt x="20" y="396"/>
                    <a:pt x="11" y="393"/>
                    <a:pt x="5" y="393"/>
                  </a:cubicBezTo>
                  <a:cubicBezTo>
                    <a:pt x="5" y="384"/>
                    <a:pt x="8" y="384"/>
                    <a:pt x="8" y="378"/>
                  </a:cubicBezTo>
                  <a:cubicBezTo>
                    <a:pt x="8" y="366"/>
                    <a:pt x="8" y="363"/>
                    <a:pt x="2" y="363"/>
                  </a:cubicBezTo>
                  <a:cubicBezTo>
                    <a:pt x="0" y="357"/>
                    <a:pt x="0" y="354"/>
                    <a:pt x="0" y="351"/>
                  </a:cubicBezTo>
                  <a:cubicBezTo>
                    <a:pt x="8" y="351"/>
                    <a:pt x="17" y="351"/>
                    <a:pt x="29" y="351"/>
                  </a:cubicBezTo>
                  <a:cubicBezTo>
                    <a:pt x="35" y="339"/>
                    <a:pt x="32" y="327"/>
                    <a:pt x="32" y="315"/>
                  </a:cubicBezTo>
                  <a:cubicBezTo>
                    <a:pt x="29" y="309"/>
                    <a:pt x="26" y="306"/>
                    <a:pt x="26" y="300"/>
                  </a:cubicBezTo>
                  <a:cubicBezTo>
                    <a:pt x="20" y="267"/>
                    <a:pt x="20" y="264"/>
                    <a:pt x="53" y="264"/>
                  </a:cubicBezTo>
                  <a:cubicBezTo>
                    <a:pt x="59" y="267"/>
                    <a:pt x="68" y="270"/>
                    <a:pt x="74" y="276"/>
                  </a:cubicBezTo>
                  <a:cubicBezTo>
                    <a:pt x="77" y="276"/>
                    <a:pt x="83" y="276"/>
                    <a:pt x="86" y="273"/>
                  </a:cubicBezTo>
                  <a:cubicBezTo>
                    <a:pt x="86" y="264"/>
                    <a:pt x="86" y="258"/>
                    <a:pt x="86" y="252"/>
                  </a:cubicBezTo>
                  <a:cubicBezTo>
                    <a:pt x="86" y="246"/>
                    <a:pt x="101" y="243"/>
                    <a:pt x="107" y="249"/>
                  </a:cubicBezTo>
                  <a:cubicBezTo>
                    <a:pt x="110" y="249"/>
                    <a:pt x="116" y="249"/>
                    <a:pt x="119" y="249"/>
                  </a:cubicBezTo>
                  <a:cubicBezTo>
                    <a:pt x="125" y="237"/>
                    <a:pt x="125" y="216"/>
                    <a:pt x="122" y="207"/>
                  </a:cubicBezTo>
                  <a:cubicBezTo>
                    <a:pt x="122" y="198"/>
                    <a:pt x="125" y="198"/>
                    <a:pt x="128" y="192"/>
                  </a:cubicBezTo>
                  <a:cubicBezTo>
                    <a:pt x="128" y="189"/>
                    <a:pt x="128" y="186"/>
                    <a:pt x="128" y="183"/>
                  </a:cubicBezTo>
                  <a:cubicBezTo>
                    <a:pt x="125" y="180"/>
                    <a:pt x="122" y="180"/>
                    <a:pt x="119" y="180"/>
                  </a:cubicBezTo>
                  <a:cubicBezTo>
                    <a:pt x="110" y="174"/>
                    <a:pt x="98" y="168"/>
                    <a:pt x="95" y="162"/>
                  </a:cubicBezTo>
                  <a:cubicBezTo>
                    <a:pt x="83" y="162"/>
                    <a:pt x="68" y="156"/>
                    <a:pt x="62" y="153"/>
                  </a:cubicBezTo>
                  <a:cubicBezTo>
                    <a:pt x="62" y="144"/>
                    <a:pt x="65" y="144"/>
                    <a:pt x="68" y="141"/>
                  </a:cubicBezTo>
                  <a:cubicBezTo>
                    <a:pt x="65" y="132"/>
                    <a:pt x="65" y="126"/>
                    <a:pt x="65" y="123"/>
                  </a:cubicBezTo>
                  <a:cubicBezTo>
                    <a:pt x="68" y="123"/>
                    <a:pt x="71" y="114"/>
                    <a:pt x="74" y="111"/>
                  </a:cubicBezTo>
                  <a:cubicBezTo>
                    <a:pt x="77" y="111"/>
                    <a:pt x="83" y="108"/>
                    <a:pt x="92" y="114"/>
                  </a:cubicBezTo>
                  <a:cubicBezTo>
                    <a:pt x="104" y="114"/>
                    <a:pt x="116" y="114"/>
                    <a:pt x="131" y="114"/>
                  </a:cubicBezTo>
                  <a:cubicBezTo>
                    <a:pt x="143" y="102"/>
                    <a:pt x="137" y="81"/>
                    <a:pt x="137" y="72"/>
                  </a:cubicBezTo>
                  <a:cubicBezTo>
                    <a:pt x="137" y="60"/>
                    <a:pt x="146" y="60"/>
                    <a:pt x="152" y="51"/>
                  </a:cubicBezTo>
                  <a:cubicBezTo>
                    <a:pt x="155" y="45"/>
                    <a:pt x="161" y="36"/>
                    <a:pt x="167" y="30"/>
                  </a:cubicBezTo>
                  <a:cubicBezTo>
                    <a:pt x="170" y="27"/>
                    <a:pt x="176" y="21"/>
                    <a:pt x="182" y="18"/>
                  </a:cubicBezTo>
                  <a:cubicBezTo>
                    <a:pt x="185" y="15"/>
                    <a:pt x="188" y="9"/>
                    <a:pt x="191" y="6"/>
                  </a:cubicBezTo>
                  <a:cubicBezTo>
                    <a:pt x="194" y="9"/>
                    <a:pt x="197" y="9"/>
                    <a:pt x="200" y="12"/>
                  </a:cubicBezTo>
                  <a:cubicBezTo>
                    <a:pt x="203" y="12"/>
                    <a:pt x="203" y="12"/>
                    <a:pt x="203" y="12"/>
                  </a:cubicBezTo>
                  <a:cubicBezTo>
                    <a:pt x="209" y="9"/>
                    <a:pt x="212" y="3"/>
                    <a:pt x="215" y="0"/>
                  </a:cubicBezTo>
                  <a:cubicBezTo>
                    <a:pt x="218" y="0"/>
                    <a:pt x="230" y="0"/>
                    <a:pt x="230" y="15"/>
                  </a:cubicBezTo>
                  <a:cubicBezTo>
                    <a:pt x="230" y="18"/>
                    <a:pt x="227" y="21"/>
                    <a:pt x="224" y="24"/>
                  </a:cubicBezTo>
                  <a:cubicBezTo>
                    <a:pt x="224" y="39"/>
                    <a:pt x="224" y="51"/>
                    <a:pt x="212" y="63"/>
                  </a:cubicBezTo>
                  <a:cubicBezTo>
                    <a:pt x="206" y="78"/>
                    <a:pt x="212" y="96"/>
                    <a:pt x="215" y="114"/>
                  </a:cubicBezTo>
                  <a:cubicBezTo>
                    <a:pt x="215" y="126"/>
                    <a:pt x="206" y="141"/>
                    <a:pt x="200" y="150"/>
                  </a:cubicBezTo>
                  <a:cubicBezTo>
                    <a:pt x="200" y="162"/>
                    <a:pt x="200" y="177"/>
                    <a:pt x="200" y="192"/>
                  </a:cubicBezTo>
                  <a:cubicBezTo>
                    <a:pt x="203" y="198"/>
                    <a:pt x="209" y="213"/>
                    <a:pt x="209" y="225"/>
                  </a:cubicBezTo>
                  <a:cubicBezTo>
                    <a:pt x="203" y="240"/>
                    <a:pt x="200" y="252"/>
                    <a:pt x="206" y="267"/>
                  </a:cubicBezTo>
                  <a:cubicBezTo>
                    <a:pt x="209" y="273"/>
                    <a:pt x="212" y="273"/>
                    <a:pt x="215" y="282"/>
                  </a:cubicBezTo>
                  <a:cubicBezTo>
                    <a:pt x="215" y="288"/>
                    <a:pt x="215" y="294"/>
                    <a:pt x="215" y="300"/>
                  </a:cubicBezTo>
                  <a:cubicBezTo>
                    <a:pt x="218" y="309"/>
                    <a:pt x="224" y="318"/>
                    <a:pt x="227" y="330"/>
                  </a:cubicBezTo>
                  <a:cubicBezTo>
                    <a:pt x="233" y="339"/>
                    <a:pt x="242" y="348"/>
                    <a:pt x="245" y="366"/>
                  </a:cubicBezTo>
                  <a:cubicBezTo>
                    <a:pt x="239" y="363"/>
                    <a:pt x="236" y="363"/>
                    <a:pt x="230" y="363"/>
                  </a:cubicBezTo>
                  <a:cubicBezTo>
                    <a:pt x="218" y="363"/>
                    <a:pt x="182" y="360"/>
                    <a:pt x="176" y="366"/>
                  </a:cubicBezTo>
                  <a:cubicBezTo>
                    <a:pt x="176" y="366"/>
                    <a:pt x="176" y="369"/>
                    <a:pt x="176" y="372"/>
                  </a:cubicBezTo>
                  <a:cubicBezTo>
                    <a:pt x="182" y="375"/>
                    <a:pt x="188" y="381"/>
                    <a:pt x="197" y="387"/>
                  </a:cubicBezTo>
                  <a:cubicBezTo>
                    <a:pt x="197" y="390"/>
                    <a:pt x="197" y="393"/>
                    <a:pt x="197" y="396"/>
                  </a:cubicBezTo>
                  <a:cubicBezTo>
                    <a:pt x="185" y="399"/>
                    <a:pt x="182" y="405"/>
                    <a:pt x="173" y="414"/>
                  </a:cubicBezTo>
                  <a:cubicBezTo>
                    <a:pt x="173" y="423"/>
                    <a:pt x="173" y="432"/>
                    <a:pt x="173" y="444"/>
                  </a:cubicBezTo>
                  <a:cubicBezTo>
                    <a:pt x="173" y="444"/>
                    <a:pt x="173" y="444"/>
                    <a:pt x="170" y="444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auto">
            <a:xfrm>
              <a:off x="7287952" y="2449990"/>
              <a:ext cx="79875" cy="129611"/>
            </a:xfrm>
            <a:custGeom>
              <a:avLst/>
              <a:gdLst>
                <a:gd name="T0" fmla="*/ 370336981 w 137"/>
                <a:gd name="T1" fmla="*/ 1405330798 h 225"/>
                <a:gd name="T2" fmla="*/ 329187782 w 137"/>
                <a:gd name="T3" fmla="*/ 1301997371 h 225"/>
                <a:gd name="T4" fmla="*/ 288038665 w 137"/>
                <a:gd name="T5" fmla="*/ 991998075 h 225"/>
                <a:gd name="T6" fmla="*/ 82298255 w 137"/>
                <a:gd name="T7" fmla="*/ 764665258 h 225"/>
                <a:gd name="T8" fmla="*/ 0 w 137"/>
                <a:gd name="T9" fmla="*/ 723332019 h 225"/>
                <a:gd name="T10" fmla="*/ 226316299 w 137"/>
                <a:gd name="T11" fmla="*/ 661331995 h 225"/>
                <a:gd name="T12" fmla="*/ 390910231 w 137"/>
                <a:gd name="T13" fmla="*/ 578665516 h 225"/>
                <a:gd name="T14" fmla="*/ 452635216 w 137"/>
                <a:gd name="T15" fmla="*/ 516665657 h 225"/>
                <a:gd name="T16" fmla="*/ 432059348 w 137"/>
                <a:gd name="T17" fmla="*/ 371999319 h 225"/>
                <a:gd name="T18" fmla="*/ 528072209 w 137"/>
                <a:gd name="T19" fmla="*/ 185999660 h 225"/>
                <a:gd name="T20" fmla="*/ 548648077 w 137"/>
                <a:gd name="T21" fmla="*/ 82666499 h 225"/>
                <a:gd name="T22" fmla="*/ 754388589 w 137"/>
                <a:gd name="T23" fmla="*/ 61999880 h 225"/>
                <a:gd name="T24" fmla="*/ 774964457 w 137"/>
                <a:gd name="T25" fmla="*/ 123999759 h 225"/>
                <a:gd name="T26" fmla="*/ 713242091 w 137"/>
                <a:gd name="T27" fmla="*/ 247999519 h 225"/>
                <a:gd name="T28" fmla="*/ 651519561 w 137"/>
                <a:gd name="T29" fmla="*/ 495999037 h 225"/>
                <a:gd name="T30" fmla="*/ 795537707 w 137"/>
                <a:gd name="T31" fmla="*/ 516665657 h 225"/>
                <a:gd name="T32" fmla="*/ 939558307 w 137"/>
                <a:gd name="T33" fmla="*/ 619998756 h 225"/>
                <a:gd name="T34" fmla="*/ 877835941 w 137"/>
                <a:gd name="T35" fmla="*/ 723332019 h 225"/>
                <a:gd name="T36" fmla="*/ 774964457 w 137"/>
                <a:gd name="T37" fmla="*/ 826665117 h 225"/>
                <a:gd name="T38" fmla="*/ 672092810 w 137"/>
                <a:gd name="T39" fmla="*/ 971331455 h 225"/>
                <a:gd name="T40" fmla="*/ 610370443 w 137"/>
                <a:gd name="T41" fmla="*/ 1177997653 h 225"/>
                <a:gd name="T42" fmla="*/ 651519561 w 137"/>
                <a:gd name="T43" fmla="*/ 1219330892 h 225"/>
                <a:gd name="T44" fmla="*/ 754388589 w 137"/>
                <a:gd name="T45" fmla="*/ 1343330610 h 225"/>
                <a:gd name="T46" fmla="*/ 733815340 w 137"/>
                <a:gd name="T47" fmla="*/ 1405330798 h 225"/>
                <a:gd name="T48" fmla="*/ 630943693 w 137"/>
                <a:gd name="T49" fmla="*/ 1446664037 h 225"/>
                <a:gd name="T50" fmla="*/ 370336981 w 137"/>
                <a:gd name="T51" fmla="*/ 1405330798 h 22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7"/>
                <a:gd name="T79" fmla="*/ 0 h 225"/>
                <a:gd name="T80" fmla="*/ 137 w 137"/>
                <a:gd name="T81" fmla="*/ 225 h 22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7" h="225">
                  <a:moveTo>
                    <a:pt x="54" y="204"/>
                  </a:moveTo>
                  <a:cubicBezTo>
                    <a:pt x="51" y="198"/>
                    <a:pt x="51" y="192"/>
                    <a:pt x="48" y="189"/>
                  </a:cubicBezTo>
                  <a:cubicBezTo>
                    <a:pt x="48" y="171"/>
                    <a:pt x="45" y="156"/>
                    <a:pt x="42" y="144"/>
                  </a:cubicBezTo>
                  <a:cubicBezTo>
                    <a:pt x="33" y="129"/>
                    <a:pt x="18" y="120"/>
                    <a:pt x="12" y="111"/>
                  </a:cubicBezTo>
                  <a:cubicBezTo>
                    <a:pt x="9" y="108"/>
                    <a:pt x="3" y="108"/>
                    <a:pt x="0" y="105"/>
                  </a:cubicBezTo>
                  <a:cubicBezTo>
                    <a:pt x="3" y="99"/>
                    <a:pt x="24" y="96"/>
                    <a:pt x="33" y="96"/>
                  </a:cubicBezTo>
                  <a:cubicBezTo>
                    <a:pt x="42" y="87"/>
                    <a:pt x="39" y="87"/>
                    <a:pt x="57" y="84"/>
                  </a:cubicBezTo>
                  <a:cubicBezTo>
                    <a:pt x="60" y="81"/>
                    <a:pt x="63" y="78"/>
                    <a:pt x="66" y="75"/>
                  </a:cubicBezTo>
                  <a:cubicBezTo>
                    <a:pt x="63" y="66"/>
                    <a:pt x="63" y="60"/>
                    <a:pt x="63" y="54"/>
                  </a:cubicBezTo>
                  <a:cubicBezTo>
                    <a:pt x="69" y="45"/>
                    <a:pt x="74" y="36"/>
                    <a:pt x="77" y="27"/>
                  </a:cubicBezTo>
                  <a:cubicBezTo>
                    <a:pt x="80" y="21"/>
                    <a:pt x="80" y="15"/>
                    <a:pt x="80" y="12"/>
                  </a:cubicBezTo>
                  <a:cubicBezTo>
                    <a:pt x="89" y="12"/>
                    <a:pt x="98" y="0"/>
                    <a:pt x="110" y="9"/>
                  </a:cubicBezTo>
                  <a:cubicBezTo>
                    <a:pt x="110" y="12"/>
                    <a:pt x="110" y="15"/>
                    <a:pt x="113" y="18"/>
                  </a:cubicBezTo>
                  <a:cubicBezTo>
                    <a:pt x="110" y="24"/>
                    <a:pt x="107" y="27"/>
                    <a:pt x="104" y="36"/>
                  </a:cubicBezTo>
                  <a:cubicBezTo>
                    <a:pt x="95" y="48"/>
                    <a:pt x="95" y="51"/>
                    <a:pt x="95" y="72"/>
                  </a:cubicBezTo>
                  <a:cubicBezTo>
                    <a:pt x="104" y="72"/>
                    <a:pt x="110" y="72"/>
                    <a:pt x="116" y="75"/>
                  </a:cubicBezTo>
                  <a:cubicBezTo>
                    <a:pt x="119" y="78"/>
                    <a:pt x="125" y="87"/>
                    <a:pt x="137" y="90"/>
                  </a:cubicBezTo>
                  <a:cubicBezTo>
                    <a:pt x="137" y="96"/>
                    <a:pt x="134" y="99"/>
                    <a:pt x="128" y="105"/>
                  </a:cubicBezTo>
                  <a:cubicBezTo>
                    <a:pt x="125" y="111"/>
                    <a:pt x="119" y="114"/>
                    <a:pt x="113" y="120"/>
                  </a:cubicBezTo>
                  <a:cubicBezTo>
                    <a:pt x="92" y="120"/>
                    <a:pt x="104" y="123"/>
                    <a:pt x="98" y="141"/>
                  </a:cubicBezTo>
                  <a:cubicBezTo>
                    <a:pt x="89" y="153"/>
                    <a:pt x="89" y="150"/>
                    <a:pt x="89" y="171"/>
                  </a:cubicBezTo>
                  <a:cubicBezTo>
                    <a:pt x="92" y="174"/>
                    <a:pt x="92" y="177"/>
                    <a:pt x="95" y="177"/>
                  </a:cubicBezTo>
                  <a:cubicBezTo>
                    <a:pt x="101" y="180"/>
                    <a:pt x="113" y="183"/>
                    <a:pt x="110" y="195"/>
                  </a:cubicBezTo>
                  <a:cubicBezTo>
                    <a:pt x="110" y="198"/>
                    <a:pt x="107" y="201"/>
                    <a:pt x="107" y="204"/>
                  </a:cubicBezTo>
                  <a:cubicBezTo>
                    <a:pt x="101" y="204"/>
                    <a:pt x="95" y="207"/>
                    <a:pt x="92" y="210"/>
                  </a:cubicBezTo>
                  <a:cubicBezTo>
                    <a:pt x="71" y="225"/>
                    <a:pt x="77" y="225"/>
                    <a:pt x="54" y="204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4" name="Freeform 5"/>
            <p:cNvSpPr>
              <a:spLocks/>
            </p:cNvSpPr>
            <p:nvPr/>
          </p:nvSpPr>
          <p:spPr bwMode="auto">
            <a:xfrm>
              <a:off x="7413419" y="3092818"/>
              <a:ext cx="73513" cy="57140"/>
            </a:xfrm>
            <a:custGeom>
              <a:avLst/>
              <a:gdLst>
                <a:gd name="T0" fmla="*/ 309048863 w 126"/>
                <a:gd name="T1" fmla="*/ 684667857 h 99"/>
                <a:gd name="T2" fmla="*/ 103017175 w 126"/>
                <a:gd name="T3" fmla="*/ 622425818 h 99"/>
                <a:gd name="T4" fmla="*/ 41206864 w 126"/>
                <a:gd name="T5" fmla="*/ 373455031 h 99"/>
                <a:gd name="T6" fmla="*/ 144221408 w 126"/>
                <a:gd name="T7" fmla="*/ 269717339 h 99"/>
                <a:gd name="T8" fmla="*/ 185428302 w 126"/>
                <a:gd name="T9" fmla="*/ 228221770 h 99"/>
                <a:gd name="T10" fmla="*/ 185428302 w 126"/>
                <a:gd name="T11" fmla="*/ 103737650 h 99"/>
                <a:gd name="T12" fmla="*/ 206031729 w 126"/>
                <a:gd name="T13" fmla="*/ 103737650 h 99"/>
                <a:gd name="T14" fmla="*/ 329649669 w 126"/>
                <a:gd name="T15" fmla="*/ 103737650 h 99"/>
                <a:gd name="T16" fmla="*/ 494477165 w 126"/>
                <a:gd name="T17" fmla="*/ 0 h 99"/>
                <a:gd name="T18" fmla="*/ 782920062 w 126"/>
                <a:gd name="T19" fmla="*/ 0 h 99"/>
                <a:gd name="T20" fmla="*/ 865333769 w 126"/>
                <a:gd name="T21" fmla="*/ 124484120 h 99"/>
                <a:gd name="T22" fmla="*/ 782920062 w 126"/>
                <a:gd name="T23" fmla="*/ 248970870 h 99"/>
                <a:gd name="T24" fmla="*/ 679905385 w 126"/>
                <a:gd name="T25" fmla="*/ 477192639 h 99"/>
                <a:gd name="T26" fmla="*/ 370856604 w 126"/>
                <a:gd name="T27" fmla="*/ 663921387 h 99"/>
                <a:gd name="T28" fmla="*/ 309048863 w 126"/>
                <a:gd name="T29" fmla="*/ 684667857 h 9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6"/>
                <a:gd name="T46" fmla="*/ 0 h 99"/>
                <a:gd name="T47" fmla="*/ 126 w 126"/>
                <a:gd name="T48" fmla="*/ 99 h 9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6" h="99">
                  <a:moveTo>
                    <a:pt x="45" y="99"/>
                  </a:moveTo>
                  <a:cubicBezTo>
                    <a:pt x="36" y="96"/>
                    <a:pt x="27" y="93"/>
                    <a:pt x="15" y="90"/>
                  </a:cubicBezTo>
                  <a:cubicBezTo>
                    <a:pt x="0" y="78"/>
                    <a:pt x="6" y="69"/>
                    <a:pt x="6" y="54"/>
                  </a:cubicBezTo>
                  <a:cubicBezTo>
                    <a:pt x="9" y="39"/>
                    <a:pt x="6" y="42"/>
                    <a:pt x="21" y="39"/>
                  </a:cubicBezTo>
                  <a:cubicBezTo>
                    <a:pt x="21" y="36"/>
                    <a:pt x="24" y="33"/>
                    <a:pt x="27" y="33"/>
                  </a:cubicBezTo>
                  <a:cubicBezTo>
                    <a:pt x="27" y="27"/>
                    <a:pt x="27" y="21"/>
                    <a:pt x="27" y="15"/>
                  </a:cubicBezTo>
                  <a:cubicBezTo>
                    <a:pt x="27" y="15"/>
                    <a:pt x="27" y="15"/>
                    <a:pt x="30" y="15"/>
                  </a:cubicBezTo>
                  <a:cubicBezTo>
                    <a:pt x="33" y="15"/>
                    <a:pt x="39" y="18"/>
                    <a:pt x="48" y="15"/>
                  </a:cubicBezTo>
                  <a:cubicBezTo>
                    <a:pt x="57" y="12"/>
                    <a:pt x="63" y="6"/>
                    <a:pt x="72" y="0"/>
                  </a:cubicBezTo>
                  <a:cubicBezTo>
                    <a:pt x="87" y="0"/>
                    <a:pt x="99" y="0"/>
                    <a:pt x="114" y="0"/>
                  </a:cubicBezTo>
                  <a:cubicBezTo>
                    <a:pt x="117" y="0"/>
                    <a:pt x="126" y="6"/>
                    <a:pt x="126" y="18"/>
                  </a:cubicBezTo>
                  <a:cubicBezTo>
                    <a:pt x="123" y="24"/>
                    <a:pt x="120" y="30"/>
                    <a:pt x="114" y="36"/>
                  </a:cubicBezTo>
                  <a:cubicBezTo>
                    <a:pt x="108" y="45"/>
                    <a:pt x="102" y="54"/>
                    <a:pt x="99" y="69"/>
                  </a:cubicBezTo>
                  <a:cubicBezTo>
                    <a:pt x="84" y="78"/>
                    <a:pt x="69" y="87"/>
                    <a:pt x="54" y="96"/>
                  </a:cubicBezTo>
                  <a:cubicBezTo>
                    <a:pt x="51" y="99"/>
                    <a:pt x="48" y="99"/>
                    <a:pt x="45" y="99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5" name="Freeform 21"/>
            <p:cNvSpPr>
              <a:spLocks/>
            </p:cNvSpPr>
            <p:nvPr/>
          </p:nvSpPr>
          <p:spPr bwMode="auto">
            <a:xfrm>
              <a:off x="7266747" y="2785515"/>
              <a:ext cx="176361" cy="154000"/>
            </a:xfrm>
            <a:custGeom>
              <a:avLst/>
              <a:gdLst>
                <a:gd name="T0" fmla="*/ 818771280 w 302"/>
                <a:gd name="T1" fmla="*/ 1843999086 h 267"/>
                <a:gd name="T2" fmla="*/ 660519571 w 302"/>
                <a:gd name="T3" fmla="*/ 1719684408 h 267"/>
                <a:gd name="T4" fmla="*/ 598597106 w 302"/>
                <a:gd name="T5" fmla="*/ 1698965295 h 267"/>
                <a:gd name="T6" fmla="*/ 371542822 w 302"/>
                <a:gd name="T7" fmla="*/ 1761122634 h 267"/>
                <a:gd name="T8" fmla="*/ 330261097 w 302"/>
                <a:gd name="T9" fmla="*/ 1823279973 h 267"/>
                <a:gd name="T10" fmla="*/ 350902001 w 302"/>
                <a:gd name="T11" fmla="*/ 1698965295 h 267"/>
                <a:gd name="T12" fmla="*/ 350902001 w 302"/>
                <a:gd name="T13" fmla="*/ 1553931504 h 267"/>
                <a:gd name="T14" fmla="*/ 206413544 w 302"/>
                <a:gd name="T15" fmla="*/ 1491774165 h 267"/>
                <a:gd name="T16" fmla="*/ 227054366 w 302"/>
                <a:gd name="T17" fmla="*/ 1408897713 h 267"/>
                <a:gd name="T18" fmla="*/ 288976831 w 302"/>
                <a:gd name="T19" fmla="*/ 1222425367 h 267"/>
                <a:gd name="T20" fmla="*/ 288976831 w 302"/>
                <a:gd name="T21" fmla="*/ 1098110689 h 267"/>
                <a:gd name="T22" fmla="*/ 247695187 w 302"/>
                <a:gd name="T23" fmla="*/ 1056672463 h 267"/>
                <a:gd name="T24" fmla="*/ 61925108 w 302"/>
                <a:gd name="T25" fmla="*/ 1077391576 h 267"/>
                <a:gd name="T26" fmla="*/ 20640827 w 302"/>
                <a:gd name="T27" fmla="*/ 994515124 h 267"/>
                <a:gd name="T28" fmla="*/ 0 w 302"/>
                <a:gd name="T29" fmla="*/ 953076898 h 267"/>
                <a:gd name="T30" fmla="*/ 206413544 w 302"/>
                <a:gd name="T31" fmla="*/ 745888396 h 267"/>
                <a:gd name="T32" fmla="*/ 247695187 w 302"/>
                <a:gd name="T33" fmla="*/ 745888396 h 267"/>
                <a:gd name="T34" fmla="*/ 495390375 w 302"/>
                <a:gd name="T35" fmla="*/ 787326622 h 267"/>
                <a:gd name="T36" fmla="*/ 536672018 w 302"/>
                <a:gd name="T37" fmla="*/ 745888396 h 267"/>
                <a:gd name="T38" fmla="*/ 557315463 w 302"/>
                <a:gd name="T39" fmla="*/ 663011780 h 267"/>
                <a:gd name="T40" fmla="*/ 598597106 w 302"/>
                <a:gd name="T41" fmla="*/ 663011780 h 267"/>
                <a:gd name="T42" fmla="*/ 860052923 w 302"/>
                <a:gd name="T43" fmla="*/ 704450170 h 267"/>
                <a:gd name="T44" fmla="*/ 901334566 w 302"/>
                <a:gd name="T45" fmla="*/ 497258876 h 267"/>
                <a:gd name="T46" fmla="*/ 681163016 w 302"/>
                <a:gd name="T47" fmla="*/ 372944198 h 267"/>
                <a:gd name="T48" fmla="*/ 736205370 w 302"/>
                <a:gd name="T49" fmla="*/ 269348551 h 267"/>
                <a:gd name="T50" fmla="*/ 798127835 w 302"/>
                <a:gd name="T51" fmla="*/ 310786777 h 267"/>
                <a:gd name="T52" fmla="*/ 942618833 w 302"/>
                <a:gd name="T53" fmla="*/ 352225085 h 267"/>
                <a:gd name="T54" fmla="*/ 1314161491 w 302"/>
                <a:gd name="T55" fmla="*/ 103595606 h 267"/>
                <a:gd name="T56" fmla="*/ 1479291015 w 302"/>
                <a:gd name="T57" fmla="*/ 0 h 267"/>
                <a:gd name="T58" fmla="*/ 1603138567 w 302"/>
                <a:gd name="T59" fmla="*/ 227910325 h 267"/>
                <a:gd name="T60" fmla="*/ 1809552030 w 302"/>
                <a:gd name="T61" fmla="*/ 455820650 h 267"/>
                <a:gd name="T62" fmla="*/ 1912758761 w 302"/>
                <a:gd name="T63" fmla="*/ 476539763 h 267"/>
                <a:gd name="T64" fmla="*/ 1912758761 w 302"/>
                <a:gd name="T65" fmla="*/ 704450170 h 267"/>
                <a:gd name="T66" fmla="*/ 1726986120 w 302"/>
                <a:gd name="T67" fmla="*/ 911641300 h 267"/>
                <a:gd name="T68" fmla="*/ 1809552030 w 302"/>
                <a:gd name="T69" fmla="*/ 890922187 h 267"/>
                <a:gd name="T70" fmla="*/ 1954040404 w 302"/>
                <a:gd name="T71" fmla="*/ 890922187 h 267"/>
                <a:gd name="T72" fmla="*/ 1954040404 w 302"/>
                <a:gd name="T73" fmla="*/ 1118829802 h 267"/>
                <a:gd name="T74" fmla="*/ 2036606314 w 302"/>
                <a:gd name="T75" fmla="*/ 1222425367 h 267"/>
                <a:gd name="T76" fmla="*/ 2077887957 w 302"/>
                <a:gd name="T77" fmla="*/ 1305301819 h 267"/>
                <a:gd name="T78" fmla="*/ 1892117939 w 302"/>
                <a:gd name="T79" fmla="*/ 1367459158 h 267"/>
                <a:gd name="T80" fmla="*/ 1644420211 w 302"/>
                <a:gd name="T81" fmla="*/ 1574650617 h 267"/>
                <a:gd name="T82" fmla="*/ 1438009372 w 302"/>
                <a:gd name="T83" fmla="*/ 1616088843 h 267"/>
                <a:gd name="T84" fmla="*/ 1334802313 w 302"/>
                <a:gd name="T85" fmla="*/ 1574650617 h 267"/>
                <a:gd name="T86" fmla="*/ 1169673117 w 302"/>
                <a:gd name="T87" fmla="*/ 1491774165 h 267"/>
                <a:gd name="T88" fmla="*/ 1128388850 w 302"/>
                <a:gd name="T89" fmla="*/ 1533212391 h 267"/>
                <a:gd name="T90" fmla="*/ 1128388850 w 302"/>
                <a:gd name="T91" fmla="*/ 1595369730 h 267"/>
                <a:gd name="T92" fmla="*/ 942618833 w 302"/>
                <a:gd name="T93" fmla="*/ 1802560860 h 267"/>
                <a:gd name="T94" fmla="*/ 818771280 w 302"/>
                <a:gd name="T95" fmla="*/ 1843999086 h 26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02"/>
                <a:gd name="T145" fmla="*/ 0 h 267"/>
                <a:gd name="T146" fmla="*/ 302 w 302"/>
                <a:gd name="T147" fmla="*/ 267 h 26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02" h="267">
                  <a:moveTo>
                    <a:pt x="119" y="267"/>
                  </a:moveTo>
                  <a:cubicBezTo>
                    <a:pt x="105" y="261"/>
                    <a:pt x="102" y="255"/>
                    <a:pt x="96" y="249"/>
                  </a:cubicBezTo>
                  <a:cubicBezTo>
                    <a:pt x="93" y="249"/>
                    <a:pt x="90" y="246"/>
                    <a:pt x="87" y="246"/>
                  </a:cubicBezTo>
                  <a:cubicBezTo>
                    <a:pt x="69" y="246"/>
                    <a:pt x="66" y="246"/>
                    <a:pt x="54" y="255"/>
                  </a:cubicBezTo>
                  <a:cubicBezTo>
                    <a:pt x="54" y="258"/>
                    <a:pt x="51" y="261"/>
                    <a:pt x="48" y="264"/>
                  </a:cubicBezTo>
                  <a:cubicBezTo>
                    <a:pt x="48" y="255"/>
                    <a:pt x="48" y="252"/>
                    <a:pt x="51" y="246"/>
                  </a:cubicBezTo>
                  <a:cubicBezTo>
                    <a:pt x="51" y="240"/>
                    <a:pt x="51" y="234"/>
                    <a:pt x="51" y="225"/>
                  </a:cubicBezTo>
                  <a:cubicBezTo>
                    <a:pt x="45" y="222"/>
                    <a:pt x="36" y="219"/>
                    <a:pt x="30" y="216"/>
                  </a:cubicBezTo>
                  <a:cubicBezTo>
                    <a:pt x="30" y="213"/>
                    <a:pt x="33" y="207"/>
                    <a:pt x="33" y="204"/>
                  </a:cubicBezTo>
                  <a:cubicBezTo>
                    <a:pt x="36" y="195"/>
                    <a:pt x="39" y="186"/>
                    <a:pt x="42" y="177"/>
                  </a:cubicBezTo>
                  <a:cubicBezTo>
                    <a:pt x="45" y="174"/>
                    <a:pt x="42" y="162"/>
                    <a:pt x="42" y="159"/>
                  </a:cubicBezTo>
                  <a:cubicBezTo>
                    <a:pt x="39" y="156"/>
                    <a:pt x="36" y="153"/>
                    <a:pt x="36" y="153"/>
                  </a:cubicBezTo>
                  <a:cubicBezTo>
                    <a:pt x="27" y="153"/>
                    <a:pt x="18" y="153"/>
                    <a:pt x="9" y="156"/>
                  </a:cubicBezTo>
                  <a:cubicBezTo>
                    <a:pt x="0" y="156"/>
                    <a:pt x="3" y="147"/>
                    <a:pt x="3" y="144"/>
                  </a:cubicBezTo>
                  <a:cubicBezTo>
                    <a:pt x="0" y="141"/>
                    <a:pt x="0" y="141"/>
                    <a:pt x="0" y="138"/>
                  </a:cubicBezTo>
                  <a:cubicBezTo>
                    <a:pt x="0" y="114"/>
                    <a:pt x="9" y="114"/>
                    <a:pt x="30" y="108"/>
                  </a:cubicBezTo>
                  <a:cubicBezTo>
                    <a:pt x="33" y="108"/>
                    <a:pt x="33" y="108"/>
                    <a:pt x="36" y="108"/>
                  </a:cubicBezTo>
                  <a:cubicBezTo>
                    <a:pt x="45" y="114"/>
                    <a:pt x="57" y="120"/>
                    <a:pt x="72" y="114"/>
                  </a:cubicBezTo>
                  <a:cubicBezTo>
                    <a:pt x="75" y="111"/>
                    <a:pt x="75" y="108"/>
                    <a:pt x="78" y="108"/>
                  </a:cubicBezTo>
                  <a:cubicBezTo>
                    <a:pt x="78" y="105"/>
                    <a:pt x="81" y="99"/>
                    <a:pt x="81" y="96"/>
                  </a:cubicBezTo>
                  <a:cubicBezTo>
                    <a:pt x="81" y="96"/>
                    <a:pt x="84" y="96"/>
                    <a:pt x="87" y="96"/>
                  </a:cubicBezTo>
                  <a:cubicBezTo>
                    <a:pt x="90" y="102"/>
                    <a:pt x="110" y="102"/>
                    <a:pt x="125" y="102"/>
                  </a:cubicBezTo>
                  <a:cubicBezTo>
                    <a:pt x="134" y="93"/>
                    <a:pt x="131" y="81"/>
                    <a:pt x="131" y="72"/>
                  </a:cubicBezTo>
                  <a:cubicBezTo>
                    <a:pt x="119" y="60"/>
                    <a:pt x="107" y="57"/>
                    <a:pt x="99" y="54"/>
                  </a:cubicBezTo>
                  <a:cubicBezTo>
                    <a:pt x="93" y="42"/>
                    <a:pt x="96" y="39"/>
                    <a:pt x="107" y="39"/>
                  </a:cubicBezTo>
                  <a:cubicBezTo>
                    <a:pt x="110" y="42"/>
                    <a:pt x="113" y="45"/>
                    <a:pt x="116" y="45"/>
                  </a:cubicBezTo>
                  <a:cubicBezTo>
                    <a:pt x="125" y="48"/>
                    <a:pt x="131" y="48"/>
                    <a:pt x="137" y="51"/>
                  </a:cubicBezTo>
                  <a:cubicBezTo>
                    <a:pt x="158" y="51"/>
                    <a:pt x="182" y="33"/>
                    <a:pt x="191" y="15"/>
                  </a:cubicBezTo>
                  <a:cubicBezTo>
                    <a:pt x="191" y="0"/>
                    <a:pt x="203" y="0"/>
                    <a:pt x="215" y="0"/>
                  </a:cubicBezTo>
                  <a:cubicBezTo>
                    <a:pt x="224" y="3"/>
                    <a:pt x="230" y="18"/>
                    <a:pt x="233" y="33"/>
                  </a:cubicBezTo>
                  <a:cubicBezTo>
                    <a:pt x="242" y="42"/>
                    <a:pt x="248" y="54"/>
                    <a:pt x="263" y="66"/>
                  </a:cubicBezTo>
                  <a:cubicBezTo>
                    <a:pt x="266" y="66"/>
                    <a:pt x="272" y="69"/>
                    <a:pt x="278" y="69"/>
                  </a:cubicBezTo>
                  <a:cubicBezTo>
                    <a:pt x="278" y="78"/>
                    <a:pt x="287" y="90"/>
                    <a:pt x="278" y="102"/>
                  </a:cubicBezTo>
                  <a:cubicBezTo>
                    <a:pt x="260" y="114"/>
                    <a:pt x="248" y="105"/>
                    <a:pt x="251" y="132"/>
                  </a:cubicBezTo>
                  <a:cubicBezTo>
                    <a:pt x="254" y="132"/>
                    <a:pt x="260" y="129"/>
                    <a:pt x="263" y="129"/>
                  </a:cubicBezTo>
                  <a:cubicBezTo>
                    <a:pt x="272" y="129"/>
                    <a:pt x="278" y="129"/>
                    <a:pt x="284" y="129"/>
                  </a:cubicBezTo>
                  <a:cubicBezTo>
                    <a:pt x="284" y="138"/>
                    <a:pt x="284" y="150"/>
                    <a:pt x="284" y="162"/>
                  </a:cubicBezTo>
                  <a:cubicBezTo>
                    <a:pt x="284" y="168"/>
                    <a:pt x="287" y="171"/>
                    <a:pt x="296" y="177"/>
                  </a:cubicBezTo>
                  <a:cubicBezTo>
                    <a:pt x="296" y="180"/>
                    <a:pt x="299" y="183"/>
                    <a:pt x="302" y="189"/>
                  </a:cubicBezTo>
                  <a:cubicBezTo>
                    <a:pt x="290" y="189"/>
                    <a:pt x="284" y="195"/>
                    <a:pt x="275" y="198"/>
                  </a:cubicBezTo>
                  <a:cubicBezTo>
                    <a:pt x="266" y="213"/>
                    <a:pt x="251" y="219"/>
                    <a:pt x="239" y="228"/>
                  </a:cubicBezTo>
                  <a:cubicBezTo>
                    <a:pt x="230" y="234"/>
                    <a:pt x="218" y="237"/>
                    <a:pt x="209" y="234"/>
                  </a:cubicBezTo>
                  <a:cubicBezTo>
                    <a:pt x="203" y="234"/>
                    <a:pt x="200" y="231"/>
                    <a:pt x="194" y="228"/>
                  </a:cubicBezTo>
                  <a:cubicBezTo>
                    <a:pt x="182" y="213"/>
                    <a:pt x="182" y="219"/>
                    <a:pt x="170" y="216"/>
                  </a:cubicBezTo>
                  <a:cubicBezTo>
                    <a:pt x="167" y="219"/>
                    <a:pt x="164" y="219"/>
                    <a:pt x="164" y="222"/>
                  </a:cubicBezTo>
                  <a:cubicBezTo>
                    <a:pt x="164" y="225"/>
                    <a:pt x="164" y="228"/>
                    <a:pt x="164" y="231"/>
                  </a:cubicBezTo>
                  <a:cubicBezTo>
                    <a:pt x="155" y="240"/>
                    <a:pt x="143" y="249"/>
                    <a:pt x="137" y="261"/>
                  </a:cubicBezTo>
                  <a:cubicBezTo>
                    <a:pt x="128" y="264"/>
                    <a:pt x="122" y="264"/>
                    <a:pt x="119" y="267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6" name="Freeform 22"/>
            <p:cNvSpPr>
              <a:spLocks/>
            </p:cNvSpPr>
            <p:nvPr/>
          </p:nvSpPr>
          <p:spPr bwMode="auto">
            <a:xfrm>
              <a:off x="7295904" y="2885860"/>
              <a:ext cx="216298" cy="160272"/>
            </a:xfrm>
            <a:custGeom>
              <a:avLst/>
              <a:gdLst>
                <a:gd name="T0" fmla="*/ 1544454801 w 370"/>
                <a:gd name="T1" fmla="*/ 1856119346 h 278"/>
                <a:gd name="T2" fmla="*/ 1461715530 w 370"/>
                <a:gd name="T3" fmla="*/ 1814718392 h 278"/>
                <a:gd name="T4" fmla="*/ 1337606295 w 370"/>
                <a:gd name="T5" fmla="*/ 1835417556 h 278"/>
                <a:gd name="T6" fmla="*/ 944598694 w 370"/>
                <a:gd name="T7" fmla="*/ 1835417556 h 278"/>
                <a:gd name="T8" fmla="*/ 737753142 w 370"/>
                <a:gd name="T9" fmla="*/ 1711217321 h 278"/>
                <a:gd name="T10" fmla="*/ 696383506 w 370"/>
                <a:gd name="T11" fmla="*/ 1649117203 h 278"/>
                <a:gd name="T12" fmla="*/ 717067011 w 370"/>
                <a:gd name="T13" fmla="*/ 1400714106 h 278"/>
                <a:gd name="T14" fmla="*/ 634330201 w 370"/>
                <a:gd name="T15" fmla="*/ 1317911870 h 278"/>
                <a:gd name="T16" fmla="*/ 268901401 w 370"/>
                <a:gd name="T17" fmla="*/ 1276513543 h 278"/>
                <a:gd name="T18" fmla="*/ 351638129 w 370"/>
                <a:gd name="T19" fmla="*/ 1173012472 h 278"/>
                <a:gd name="T20" fmla="*/ 468851659 w 370"/>
                <a:gd name="T21" fmla="*/ 910808181 h 278"/>
                <a:gd name="T22" fmla="*/ 62053161 w 370"/>
                <a:gd name="T23" fmla="*/ 765908783 h 278"/>
                <a:gd name="T24" fmla="*/ 206845635 w 370"/>
                <a:gd name="T25" fmla="*/ 538204685 h 278"/>
                <a:gd name="T26" fmla="*/ 406798518 w 370"/>
                <a:gd name="T27" fmla="*/ 662407547 h 278"/>
                <a:gd name="T28" fmla="*/ 820489787 w 370"/>
                <a:gd name="T29" fmla="*/ 414004450 h 278"/>
                <a:gd name="T30" fmla="*/ 903229059 w 370"/>
                <a:gd name="T31" fmla="*/ 331202460 h 278"/>
                <a:gd name="T32" fmla="*/ 1110077237 w 370"/>
                <a:gd name="T33" fmla="*/ 476104568 h 278"/>
                <a:gd name="T34" fmla="*/ 1316922790 w 370"/>
                <a:gd name="T35" fmla="*/ 414004450 h 278"/>
                <a:gd name="T36" fmla="*/ 1544454801 w 370"/>
                <a:gd name="T37" fmla="*/ 248403179 h 278"/>
                <a:gd name="T38" fmla="*/ 1896092766 w 370"/>
                <a:gd name="T39" fmla="*/ 124200276 h 278"/>
                <a:gd name="T40" fmla="*/ 2147483647 w 370"/>
                <a:gd name="T41" fmla="*/ 124200276 h 278"/>
                <a:gd name="T42" fmla="*/ 2147483647 w 370"/>
                <a:gd name="T43" fmla="*/ 393302660 h 278"/>
                <a:gd name="T44" fmla="*/ 2147483647 w 370"/>
                <a:gd name="T45" fmla="*/ 496803731 h 278"/>
                <a:gd name="T46" fmla="*/ 2147483647 w 370"/>
                <a:gd name="T47" fmla="*/ 641705757 h 278"/>
                <a:gd name="T48" fmla="*/ 2147483647 w 370"/>
                <a:gd name="T49" fmla="*/ 828008900 h 278"/>
                <a:gd name="T50" fmla="*/ 2147483647 w 370"/>
                <a:gd name="T51" fmla="*/ 910808181 h 278"/>
                <a:gd name="T52" fmla="*/ 2147483647 w 370"/>
                <a:gd name="T53" fmla="*/ 1173012472 h 278"/>
                <a:gd name="T54" fmla="*/ 2123624449 w 370"/>
                <a:gd name="T55" fmla="*/ 1442115060 h 278"/>
                <a:gd name="T56" fmla="*/ 1958145906 w 370"/>
                <a:gd name="T57" fmla="*/ 1587017086 h 278"/>
                <a:gd name="T58" fmla="*/ 1937462401 w 370"/>
                <a:gd name="T59" fmla="*/ 1607716249 h 278"/>
                <a:gd name="T60" fmla="*/ 1834039625 w 370"/>
                <a:gd name="T61" fmla="*/ 1711217321 h 278"/>
                <a:gd name="T62" fmla="*/ 1606507942 w 370"/>
                <a:gd name="T63" fmla="*/ 1918219464 h 27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0"/>
                <a:gd name="T97" fmla="*/ 0 h 278"/>
                <a:gd name="T98" fmla="*/ 370 w 370"/>
                <a:gd name="T99" fmla="*/ 278 h 27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0" h="278">
                  <a:moveTo>
                    <a:pt x="224" y="278"/>
                  </a:moveTo>
                  <a:cubicBezTo>
                    <a:pt x="224" y="275"/>
                    <a:pt x="224" y="272"/>
                    <a:pt x="224" y="269"/>
                  </a:cubicBezTo>
                  <a:cubicBezTo>
                    <a:pt x="221" y="269"/>
                    <a:pt x="221" y="266"/>
                    <a:pt x="218" y="266"/>
                  </a:cubicBezTo>
                  <a:cubicBezTo>
                    <a:pt x="215" y="266"/>
                    <a:pt x="215" y="263"/>
                    <a:pt x="212" y="263"/>
                  </a:cubicBezTo>
                  <a:cubicBezTo>
                    <a:pt x="209" y="251"/>
                    <a:pt x="203" y="251"/>
                    <a:pt x="197" y="254"/>
                  </a:cubicBezTo>
                  <a:cubicBezTo>
                    <a:pt x="194" y="260"/>
                    <a:pt x="194" y="263"/>
                    <a:pt x="194" y="266"/>
                  </a:cubicBezTo>
                  <a:cubicBezTo>
                    <a:pt x="182" y="269"/>
                    <a:pt x="170" y="269"/>
                    <a:pt x="158" y="269"/>
                  </a:cubicBezTo>
                  <a:cubicBezTo>
                    <a:pt x="152" y="269"/>
                    <a:pt x="146" y="266"/>
                    <a:pt x="137" y="266"/>
                  </a:cubicBezTo>
                  <a:cubicBezTo>
                    <a:pt x="131" y="263"/>
                    <a:pt x="128" y="263"/>
                    <a:pt x="122" y="263"/>
                  </a:cubicBezTo>
                  <a:cubicBezTo>
                    <a:pt x="116" y="257"/>
                    <a:pt x="113" y="254"/>
                    <a:pt x="107" y="248"/>
                  </a:cubicBezTo>
                  <a:cubicBezTo>
                    <a:pt x="107" y="245"/>
                    <a:pt x="104" y="242"/>
                    <a:pt x="101" y="239"/>
                  </a:cubicBezTo>
                  <a:cubicBezTo>
                    <a:pt x="101" y="239"/>
                    <a:pt x="101" y="239"/>
                    <a:pt x="101" y="239"/>
                  </a:cubicBezTo>
                  <a:cubicBezTo>
                    <a:pt x="95" y="227"/>
                    <a:pt x="101" y="224"/>
                    <a:pt x="104" y="215"/>
                  </a:cubicBezTo>
                  <a:cubicBezTo>
                    <a:pt x="104" y="212"/>
                    <a:pt x="104" y="206"/>
                    <a:pt x="104" y="203"/>
                  </a:cubicBezTo>
                  <a:cubicBezTo>
                    <a:pt x="101" y="200"/>
                    <a:pt x="95" y="197"/>
                    <a:pt x="92" y="194"/>
                  </a:cubicBezTo>
                  <a:cubicBezTo>
                    <a:pt x="92" y="191"/>
                    <a:pt x="92" y="191"/>
                    <a:pt x="92" y="191"/>
                  </a:cubicBezTo>
                  <a:cubicBezTo>
                    <a:pt x="74" y="191"/>
                    <a:pt x="62" y="191"/>
                    <a:pt x="51" y="188"/>
                  </a:cubicBezTo>
                  <a:cubicBezTo>
                    <a:pt x="48" y="188"/>
                    <a:pt x="45" y="185"/>
                    <a:pt x="39" y="185"/>
                  </a:cubicBezTo>
                  <a:cubicBezTo>
                    <a:pt x="39" y="179"/>
                    <a:pt x="36" y="176"/>
                    <a:pt x="36" y="170"/>
                  </a:cubicBezTo>
                  <a:cubicBezTo>
                    <a:pt x="39" y="170"/>
                    <a:pt x="45" y="170"/>
                    <a:pt x="51" y="170"/>
                  </a:cubicBezTo>
                  <a:cubicBezTo>
                    <a:pt x="56" y="170"/>
                    <a:pt x="62" y="161"/>
                    <a:pt x="68" y="158"/>
                  </a:cubicBezTo>
                  <a:cubicBezTo>
                    <a:pt x="74" y="147"/>
                    <a:pt x="74" y="138"/>
                    <a:pt x="68" y="132"/>
                  </a:cubicBezTo>
                  <a:cubicBezTo>
                    <a:pt x="65" y="132"/>
                    <a:pt x="59" y="132"/>
                    <a:pt x="56" y="132"/>
                  </a:cubicBezTo>
                  <a:cubicBezTo>
                    <a:pt x="39" y="120"/>
                    <a:pt x="21" y="117"/>
                    <a:pt x="9" y="111"/>
                  </a:cubicBezTo>
                  <a:cubicBezTo>
                    <a:pt x="3" y="105"/>
                    <a:pt x="0" y="99"/>
                    <a:pt x="0" y="96"/>
                  </a:cubicBezTo>
                  <a:cubicBezTo>
                    <a:pt x="9" y="81"/>
                    <a:pt x="9" y="78"/>
                    <a:pt x="30" y="78"/>
                  </a:cubicBezTo>
                  <a:cubicBezTo>
                    <a:pt x="36" y="78"/>
                    <a:pt x="39" y="81"/>
                    <a:pt x="45" y="81"/>
                  </a:cubicBezTo>
                  <a:cubicBezTo>
                    <a:pt x="48" y="87"/>
                    <a:pt x="54" y="90"/>
                    <a:pt x="59" y="96"/>
                  </a:cubicBezTo>
                  <a:cubicBezTo>
                    <a:pt x="65" y="96"/>
                    <a:pt x="71" y="99"/>
                    <a:pt x="83" y="96"/>
                  </a:cubicBezTo>
                  <a:cubicBezTo>
                    <a:pt x="95" y="87"/>
                    <a:pt x="107" y="69"/>
                    <a:pt x="119" y="60"/>
                  </a:cubicBezTo>
                  <a:cubicBezTo>
                    <a:pt x="119" y="57"/>
                    <a:pt x="119" y="54"/>
                    <a:pt x="119" y="48"/>
                  </a:cubicBezTo>
                  <a:cubicBezTo>
                    <a:pt x="122" y="48"/>
                    <a:pt x="125" y="48"/>
                    <a:pt x="131" y="48"/>
                  </a:cubicBezTo>
                  <a:cubicBezTo>
                    <a:pt x="131" y="51"/>
                    <a:pt x="134" y="51"/>
                    <a:pt x="134" y="54"/>
                  </a:cubicBezTo>
                  <a:cubicBezTo>
                    <a:pt x="140" y="57"/>
                    <a:pt x="149" y="63"/>
                    <a:pt x="161" y="69"/>
                  </a:cubicBezTo>
                  <a:cubicBezTo>
                    <a:pt x="164" y="69"/>
                    <a:pt x="167" y="69"/>
                    <a:pt x="170" y="69"/>
                  </a:cubicBezTo>
                  <a:cubicBezTo>
                    <a:pt x="176" y="66"/>
                    <a:pt x="182" y="63"/>
                    <a:pt x="191" y="60"/>
                  </a:cubicBezTo>
                  <a:cubicBezTo>
                    <a:pt x="200" y="51"/>
                    <a:pt x="206" y="48"/>
                    <a:pt x="218" y="42"/>
                  </a:cubicBezTo>
                  <a:cubicBezTo>
                    <a:pt x="218" y="39"/>
                    <a:pt x="221" y="39"/>
                    <a:pt x="224" y="36"/>
                  </a:cubicBezTo>
                  <a:cubicBezTo>
                    <a:pt x="233" y="24"/>
                    <a:pt x="239" y="21"/>
                    <a:pt x="254" y="18"/>
                  </a:cubicBezTo>
                  <a:cubicBezTo>
                    <a:pt x="260" y="18"/>
                    <a:pt x="266" y="18"/>
                    <a:pt x="275" y="18"/>
                  </a:cubicBezTo>
                  <a:cubicBezTo>
                    <a:pt x="290" y="9"/>
                    <a:pt x="293" y="0"/>
                    <a:pt x="314" y="0"/>
                  </a:cubicBezTo>
                  <a:cubicBezTo>
                    <a:pt x="317" y="6"/>
                    <a:pt x="320" y="12"/>
                    <a:pt x="326" y="18"/>
                  </a:cubicBezTo>
                  <a:cubicBezTo>
                    <a:pt x="329" y="21"/>
                    <a:pt x="332" y="24"/>
                    <a:pt x="335" y="27"/>
                  </a:cubicBezTo>
                  <a:cubicBezTo>
                    <a:pt x="329" y="36"/>
                    <a:pt x="323" y="45"/>
                    <a:pt x="317" y="57"/>
                  </a:cubicBezTo>
                  <a:cubicBezTo>
                    <a:pt x="317" y="60"/>
                    <a:pt x="317" y="66"/>
                    <a:pt x="317" y="69"/>
                  </a:cubicBezTo>
                  <a:cubicBezTo>
                    <a:pt x="320" y="72"/>
                    <a:pt x="326" y="72"/>
                    <a:pt x="335" y="72"/>
                  </a:cubicBezTo>
                  <a:cubicBezTo>
                    <a:pt x="335" y="78"/>
                    <a:pt x="338" y="81"/>
                    <a:pt x="338" y="87"/>
                  </a:cubicBezTo>
                  <a:cubicBezTo>
                    <a:pt x="341" y="90"/>
                    <a:pt x="341" y="90"/>
                    <a:pt x="344" y="93"/>
                  </a:cubicBezTo>
                  <a:cubicBezTo>
                    <a:pt x="349" y="93"/>
                    <a:pt x="358" y="90"/>
                    <a:pt x="364" y="90"/>
                  </a:cubicBezTo>
                  <a:cubicBezTo>
                    <a:pt x="370" y="96"/>
                    <a:pt x="370" y="108"/>
                    <a:pt x="370" y="120"/>
                  </a:cubicBezTo>
                  <a:cubicBezTo>
                    <a:pt x="370" y="123"/>
                    <a:pt x="367" y="126"/>
                    <a:pt x="361" y="129"/>
                  </a:cubicBezTo>
                  <a:cubicBezTo>
                    <a:pt x="361" y="132"/>
                    <a:pt x="358" y="132"/>
                    <a:pt x="355" y="132"/>
                  </a:cubicBezTo>
                  <a:cubicBezTo>
                    <a:pt x="355" y="141"/>
                    <a:pt x="355" y="149"/>
                    <a:pt x="352" y="155"/>
                  </a:cubicBezTo>
                  <a:cubicBezTo>
                    <a:pt x="352" y="161"/>
                    <a:pt x="349" y="164"/>
                    <a:pt x="346" y="170"/>
                  </a:cubicBezTo>
                  <a:cubicBezTo>
                    <a:pt x="344" y="170"/>
                    <a:pt x="338" y="173"/>
                    <a:pt x="338" y="179"/>
                  </a:cubicBezTo>
                  <a:cubicBezTo>
                    <a:pt x="326" y="179"/>
                    <a:pt x="317" y="203"/>
                    <a:pt x="308" y="209"/>
                  </a:cubicBezTo>
                  <a:cubicBezTo>
                    <a:pt x="308" y="212"/>
                    <a:pt x="299" y="215"/>
                    <a:pt x="299" y="215"/>
                  </a:cubicBezTo>
                  <a:cubicBezTo>
                    <a:pt x="293" y="221"/>
                    <a:pt x="287" y="227"/>
                    <a:pt x="284" y="230"/>
                  </a:cubicBezTo>
                  <a:cubicBezTo>
                    <a:pt x="284" y="233"/>
                    <a:pt x="284" y="233"/>
                    <a:pt x="284" y="233"/>
                  </a:cubicBezTo>
                  <a:cubicBezTo>
                    <a:pt x="281" y="233"/>
                    <a:pt x="281" y="233"/>
                    <a:pt x="281" y="233"/>
                  </a:cubicBezTo>
                  <a:cubicBezTo>
                    <a:pt x="281" y="236"/>
                    <a:pt x="281" y="236"/>
                    <a:pt x="281" y="236"/>
                  </a:cubicBezTo>
                  <a:cubicBezTo>
                    <a:pt x="275" y="236"/>
                    <a:pt x="269" y="245"/>
                    <a:pt x="266" y="248"/>
                  </a:cubicBezTo>
                  <a:cubicBezTo>
                    <a:pt x="263" y="254"/>
                    <a:pt x="260" y="260"/>
                    <a:pt x="257" y="266"/>
                  </a:cubicBezTo>
                  <a:cubicBezTo>
                    <a:pt x="245" y="269"/>
                    <a:pt x="239" y="272"/>
                    <a:pt x="233" y="278"/>
                  </a:cubicBezTo>
                  <a:cubicBezTo>
                    <a:pt x="227" y="278"/>
                    <a:pt x="227" y="278"/>
                    <a:pt x="224" y="278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7" name="Freeform 23"/>
            <p:cNvSpPr>
              <a:spLocks/>
            </p:cNvSpPr>
            <p:nvPr/>
          </p:nvSpPr>
          <p:spPr bwMode="auto">
            <a:xfrm>
              <a:off x="7442931" y="2908158"/>
              <a:ext cx="226901" cy="174208"/>
            </a:xfrm>
            <a:custGeom>
              <a:avLst/>
              <a:gdLst>
                <a:gd name="T0" fmla="*/ 186293656 w 388"/>
                <a:gd name="T1" fmla="*/ 2086221875 h 302"/>
                <a:gd name="T2" fmla="*/ 82797456 w 388"/>
                <a:gd name="T3" fmla="*/ 1941152294 h 302"/>
                <a:gd name="T4" fmla="*/ 0 w 388"/>
                <a:gd name="T5" fmla="*/ 1796085341 h 302"/>
                <a:gd name="T6" fmla="*/ 62098754 w 388"/>
                <a:gd name="T7" fmla="*/ 1651015760 h 302"/>
                <a:gd name="T8" fmla="*/ 227691060 w 388"/>
                <a:gd name="T9" fmla="*/ 1360878897 h 302"/>
                <a:gd name="T10" fmla="*/ 434686045 w 388"/>
                <a:gd name="T11" fmla="*/ 1174363492 h 302"/>
                <a:gd name="T12" fmla="*/ 634777878 w 388"/>
                <a:gd name="T13" fmla="*/ 946399636 h 302"/>
                <a:gd name="T14" fmla="*/ 717575478 w 388"/>
                <a:gd name="T15" fmla="*/ 801330054 h 302"/>
                <a:gd name="T16" fmla="*/ 841770318 w 388"/>
                <a:gd name="T17" fmla="*/ 580273233 h 302"/>
                <a:gd name="T18" fmla="*/ 841770318 w 388"/>
                <a:gd name="T19" fmla="*/ 373033602 h 302"/>
                <a:gd name="T20" fmla="*/ 903869052 w 388"/>
                <a:gd name="T21" fmla="*/ 227963939 h 302"/>
                <a:gd name="T22" fmla="*/ 945266456 w 388"/>
                <a:gd name="T23" fmla="*/ 145069622 h 302"/>
                <a:gd name="T24" fmla="*/ 1007365190 w 388"/>
                <a:gd name="T25" fmla="*/ 145069622 h 302"/>
                <a:gd name="T26" fmla="*/ 1131560030 w 388"/>
                <a:gd name="T27" fmla="*/ 248688165 h 302"/>
                <a:gd name="T28" fmla="*/ 1193658763 w 388"/>
                <a:gd name="T29" fmla="*/ 248688165 h 302"/>
                <a:gd name="T30" fmla="*/ 1235056168 w 388"/>
                <a:gd name="T31" fmla="*/ 124345396 h 302"/>
                <a:gd name="T32" fmla="*/ 1152261359 w 388"/>
                <a:gd name="T33" fmla="*/ 41448462 h 302"/>
                <a:gd name="T34" fmla="*/ 1172960061 w 388"/>
                <a:gd name="T35" fmla="*/ 41448462 h 302"/>
                <a:gd name="T36" fmla="*/ 1504147506 w 388"/>
                <a:gd name="T37" fmla="*/ 41448462 h 302"/>
                <a:gd name="T38" fmla="*/ 1731841111 w 388"/>
                <a:gd name="T39" fmla="*/ 0 h 302"/>
                <a:gd name="T40" fmla="*/ 1773238515 w 388"/>
                <a:gd name="T41" fmla="*/ 0 h 302"/>
                <a:gd name="T42" fmla="*/ 1773238515 w 388"/>
                <a:gd name="T43" fmla="*/ 82896924 h 302"/>
                <a:gd name="T44" fmla="*/ 1628344973 w 388"/>
                <a:gd name="T45" fmla="*/ 248688165 h 302"/>
                <a:gd name="T46" fmla="*/ 1793937218 w 388"/>
                <a:gd name="T47" fmla="*/ 352309376 h 302"/>
                <a:gd name="T48" fmla="*/ 2000932120 w 388"/>
                <a:gd name="T49" fmla="*/ 269412390 h 302"/>
                <a:gd name="T50" fmla="*/ 2063028227 w 388"/>
                <a:gd name="T51" fmla="*/ 269412390 h 302"/>
                <a:gd name="T52" fmla="*/ 2104428258 w 388"/>
                <a:gd name="T53" fmla="*/ 290136616 h 302"/>
                <a:gd name="T54" fmla="*/ 2147483647 w 388"/>
                <a:gd name="T55" fmla="*/ 207239713 h 302"/>
                <a:gd name="T56" fmla="*/ 2147483647 w 388"/>
                <a:gd name="T57" fmla="*/ 331585068 h 302"/>
                <a:gd name="T58" fmla="*/ 2147483647 w 388"/>
                <a:gd name="T59" fmla="*/ 538824781 h 302"/>
                <a:gd name="T60" fmla="*/ 2147483647 w 388"/>
                <a:gd name="T61" fmla="*/ 580273233 h 302"/>
                <a:gd name="T62" fmla="*/ 2147483647 w 388"/>
                <a:gd name="T63" fmla="*/ 621721684 h 302"/>
                <a:gd name="T64" fmla="*/ 2147483647 w 388"/>
                <a:gd name="T65" fmla="*/ 780605828 h 302"/>
                <a:gd name="T66" fmla="*/ 2147483647 w 388"/>
                <a:gd name="T67" fmla="*/ 801330054 h 302"/>
                <a:gd name="T68" fmla="*/ 2147483647 w 388"/>
                <a:gd name="T69" fmla="*/ 987848087 h 302"/>
                <a:gd name="T70" fmla="*/ 2125126961 w 388"/>
                <a:gd name="T71" fmla="*/ 1029293911 h 302"/>
                <a:gd name="T72" fmla="*/ 2063028227 w 388"/>
                <a:gd name="T73" fmla="*/ 1008569685 h 302"/>
                <a:gd name="T74" fmla="*/ 2000932120 w 388"/>
                <a:gd name="T75" fmla="*/ 1008569685 h 302"/>
                <a:gd name="T76" fmla="*/ 1959532089 w 388"/>
                <a:gd name="T77" fmla="*/ 1050018137 h 302"/>
                <a:gd name="T78" fmla="*/ 1918134685 w 388"/>
                <a:gd name="T79" fmla="*/ 1050018137 h 302"/>
                <a:gd name="T80" fmla="*/ 1793937218 w 388"/>
                <a:gd name="T81" fmla="*/ 1008569685 h 302"/>
                <a:gd name="T82" fmla="*/ 1793937218 w 388"/>
                <a:gd name="T83" fmla="*/ 1112190814 h 302"/>
                <a:gd name="T84" fmla="*/ 1690441080 w 388"/>
                <a:gd name="T85" fmla="*/ 1195087718 h 302"/>
                <a:gd name="T86" fmla="*/ 1607643644 w 388"/>
                <a:gd name="T87" fmla="*/ 1132915040 h 302"/>
                <a:gd name="T88" fmla="*/ 1586944942 w 388"/>
                <a:gd name="T89" fmla="*/ 1132915040 h 302"/>
                <a:gd name="T90" fmla="*/ 1483448804 w 388"/>
                <a:gd name="T91" fmla="*/ 1050018137 h 302"/>
                <a:gd name="T92" fmla="*/ 1442051399 w 388"/>
                <a:gd name="T93" fmla="*/ 1050018137 h 302"/>
                <a:gd name="T94" fmla="*/ 1400651368 w 388"/>
                <a:gd name="T95" fmla="*/ 1132915040 h 302"/>
                <a:gd name="T96" fmla="*/ 1317853604 w 388"/>
                <a:gd name="T97" fmla="*/ 1257260396 h 302"/>
                <a:gd name="T98" fmla="*/ 1193658763 w 388"/>
                <a:gd name="T99" fmla="*/ 1360878897 h 302"/>
                <a:gd name="T100" fmla="*/ 1110861328 w 388"/>
                <a:gd name="T101" fmla="*/ 1381603451 h 302"/>
                <a:gd name="T102" fmla="*/ 1048762594 w 388"/>
                <a:gd name="T103" fmla="*/ 1443776129 h 302"/>
                <a:gd name="T104" fmla="*/ 883170350 w 388"/>
                <a:gd name="T105" fmla="*/ 1485224581 h 302"/>
                <a:gd name="T106" fmla="*/ 862469021 w 388"/>
                <a:gd name="T107" fmla="*/ 1526673033 h 302"/>
                <a:gd name="T108" fmla="*/ 821071616 w 388"/>
                <a:gd name="T109" fmla="*/ 1526673033 h 302"/>
                <a:gd name="T110" fmla="*/ 676175283 w 388"/>
                <a:gd name="T111" fmla="*/ 1526673033 h 302"/>
                <a:gd name="T112" fmla="*/ 476083450 w 388"/>
                <a:gd name="T113" fmla="*/ 1588845710 h 302"/>
                <a:gd name="T114" fmla="*/ 269091092 w 388"/>
                <a:gd name="T115" fmla="*/ 1671739985 h 302"/>
                <a:gd name="T116" fmla="*/ 248392389 w 388"/>
                <a:gd name="T117" fmla="*/ 1754636889 h 302"/>
                <a:gd name="T118" fmla="*/ 165594913 w 388"/>
                <a:gd name="T119" fmla="*/ 1878982244 h 302"/>
                <a:gd name="T120" fmla="*/ 289789794 w 388"/>
                <a:gd name="T121" fmla="*/ 2044773423 h 302"/>
                <a:gd name="T122" fmla="*/ 186293656 w 388"/>
                <a:gd name="T123" fmla="*/ 2086221875 h 30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88"/>
                <a:gd name="T187" fmla="*/ 0 h 302"/>
                <a:gd name="T188" fmla="*/ 388 w 388"/>
                <a:gd name="T189" fmla="*/ 302 h 30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88" h="302">
                  <a:moveTo>
                    <a:pt x="27" y="302"/>
                  </a:moveTo>
                  <a:cubicBezTo>
                    <a:pt x="15" y="293"/>
                    <a:pt x="15" y="287"/>
                    <a:pt x="12" y="281"/>
                  </a:cubicBezTo>
                  <a:cubicBezTo>
                    <a:pt x="9" y="272"/>
                    <a:pt x="3" y="266"/>
                    <a:pt x="0" y="260"/>
                  </a:cubicBezTo>
                  <a:cubicBezTo>
                    <a:pt x="0" y="245"/>
                    <a:pt x="0" y="248"/>
                    <a:pt x="9" y="239"/>
                  </a:cubicBezTo>
                  <a:cubicBezTo>
                    <a:pt x="12" y="215"/>
                    <a:pt x="12" y="212"/>
                    <a:pt x="33" y="197"/>
                  </a:cubicBezTo>
                  <a:cubicBezTo>
                    <a:pt x="42" y="188"/>
                    <a:pt x="51" y="179"/>
                    <a:pt x="63" y="170"/>
                  </a:cubicBezTo>
                  <a:cubicBezTo>
                    <a:pt x="72" y="158"/>
                    <a:pt x="81" y="149"/>
                    <a:pt x="92" y="137"/>
                  </a:cubicBezTo>
                  <a:cubicBezTo>
                    <a:pt x="101" y="131"/>
                    <a:pt x="101" y="125"/>
                    <a:pt x="104" y="116"/>
                  </a:cubicBezTo>
                  <a:cubicBezTo>
                    <a:pt x="104" y="93"/>
                    <a:pt x="110" y="99"/>
                    <a:pt x="122" y="84"/>
                  </a:cubicBezTo>
                  <a:cubicBezTo>
                    <a:pt x="122" y="75"/>
                    <a:pt x="122" y="63"/>
                    <a:pt x="122" y="54"/>
                  </a:cubicBezTo>
                  <a:cubicBezTo>
                    <a:pt x="128" y="48"/>
                    <a:pt x="128" y="39"/>
                    <a:pt x="131" y="33"/>
                  </a:cubicBezTo>
                  <a:cubicBezTo>
                    <a:pt x="131" y="27"/>
                    <a:pt x="134" y="24"/>
                    <a:pt x="137" y="21"/>
                  </a:cubicBezTo>
                  <a:cubicBezTo>
                    <a:pt x="140" y="21"/>
                    <a:pt x="143" y="21"/>
                    <a:pt x="146" y="21"/>
                  </a:cubicBezTo>
                  <a:cubicBezTo>
                    <a:pt x="152" y="24"/>
                    <a:pt x="158" y="30"/>
                    <a:pt x="164" y="36"/>
                  </a:cubicBezTo>
                  <a:cubicBezTo>
                    <a:pt x="167" y="36"/>
                    <a:pt x="170" y="36"/>
                    <a:pt x="173" y="36"/>
                  </a:cubicBezTo>
                  <a:cubicBezTo>
                    <a:pt x="179" y="30"/>
                    <a:pt x="179" y="21"/>
                    <a:pt x="179" y="18"/>
                  </a:cubicBezTo>
                  <a:cubicBezTo>
                    <a:pt x="176" y="15"/>
                    <a:pt x="170" y="9"/>
                    <a:pt x="167" y="6"/>
                  </a:cubicBezTo>
                  <a:cubicBezTo>
                    <a:pt x="170" y="6"/>
                    <a:pt x="170" y="6"/>
                    <a:pt x="170" y="6"/>
                  </a:cubicBezTo>
                  <a:cubicBezTo>
                    <a:pt x="188" y="6"/>
                    <a:pt x="203" y="6"/>
                    <a:pt x="218" y="6"/>
                  </a:cubicBezTo>
                  <a:cubicBezTo>
                    <a:pt x="224" y="9"/>
                    <a:pt x="242" y="9"/>
                    <a:pt x="251" y="0"/>
                  </a:cubicBezTo>
                  <a:cubicBezTo>
                    <a:pt x="254" y="0"/>
                    <a:pt x="254" y="0"/>
                    <a:pt x="257" y="0"/>
                  </a:cubicBezTo>
                  <a:cubicBezTo>
                    <a:pt x="257" y="6"/>
                    <a:pt x="257" y="9"/>
                    <a:pt x="257" y="12"/>
                  </a:cubicBezTo>
                  <a:cubicBezTo>
                    <a:pt x="251" y="18"/>
                    <a:pt x="242" y="27"/>
                    <a:pt x="236" y="36"/>
                  </a:cubicBezTo>
                  <a:cubicBezTo>
                    <a:pt x="236" y="48"/>
                    <a:pt x="239" y="51"/>
                    <a:pt x="260" y="51"/>
                  </a:cubicBezTo>
                  <a:cubicBezTo>
                    <a:pt x="269" y="45"/>
                    <a:pt x="278" y="42"/>
                    <a:pt x="290" y="39"/>
                  </a:cubicBezTo>
                  <a:cubicBezTo>
                    <a:pt x="293" y="39"/>
                    <a:pt x="296" y="39"/>
                    <a:pt x="299" y="39"/>
                  </a:cubicBezTo>
                  <a:cubicBezTo>
                    <a:pt x="299" y="39"/>
                    <a:pt x="302" y="42"/>
                    <a:pt x="305" y="42"/>
                  </a:cubicBezTo>
                  <a:cubicBezTo>
                    <a:pt x="320" y="42"/>
                    <a:pt x="329" y="21"/>
                    <a:pt x="353" y="30"/>
                  </a:cubicBezTo>
                  <a:cubicBezTo>
                    <a:pt x="359" y="36"/>
                    <a:pt x="362" y="42"/>
                    <a:pt x="368" y="48"/>
                  </a:cubicBezTo>
                  <a:cubicBezTo>
                    <a:pt x="374" y="57"/>
                    <a:pt x="382" y="66"/>
                    <a:pt x="388" y="78"/>
                  </a:cubicBezTo>
                  <a:cubicBezTo>
                    <a:pt x="388" y="81"/>
                    <a:pt x="388" y="81"/>
                    <a:pt x="388" y="84"/>
                  </a:cubicBezTo>
                  <a:cubicBezTo>
                    <a:pt x="379" y="84"/>
                    <a:pt x="379" y="87"/>
                    <a:pt x="374" y="90"/>
                  </a:cubicBezTo>
                  <a:cubicBezTo>
                    <a:pt x="368" y="96"/>
                    <a:pt x="353" y="99"/>
                    <a:pt x="362" y="113"/>
                  </a:cubicBezTo>
                  <a:cubicBezTo>
                    <a:pt x="362" y="113"/>
                    <a:pt x="362" y="113"/>
                    <a:pt x="362" y="116"/>
                  </a:cubicBezTo>
                  <a:cubicBezTo>
                    <a:pt x="347" y="122"/>
                    <a:pt x="329" y="134"/>
                    <a:pt x="314" y="143"/>
                  </a:cubicBezTo>
                  <a:cubicBezTo>
                    <a:pt x="314" y="143"/>
                    <a:pt x="311" y="146"/>
                    <a:pt x="308" y="149"/>
                  </a:cubicBezTo>
                  <a:cubicBezTo>
                    <a:pt x="302" y="149"/>
                    <a:pt x="299" y="146"/>
                    <a:pt x="299" y="146"/>
                  </a:cubicBezTo>
                  <a:cubicBezTo>
                    <a:pt x="296" y="146"/>
                    <a:pt x="293" y="146"/>
                    <a:pt x="290" y="146"/>
                  </a:cubicBezTo>
                  <a:cubicBezTo>
                    <a:pt x="287" y="146"/>
                    <a:pt x="284" y="149"/>
                    <a:pt x="284" y="152"/>
                  </a:cubicBezTo>
                  <a:cubicBezTo>
                    <a:pt x="281" y="152"/>
                    <a:pt x="278" y="152"/>
                    <a:pt x="278" y="152"/>
                  </a:cubicBezTo>
                  <a:cubicBezTo>
                    <a:pt x="269" y="143"/>
                    <a:pt x="266" y="146"/>
                    <a:pt x="260" y="146"/>
                  </a:cubicBezTo>
                  <a:cubicBezTo>
                    <a:pt x="260" y="152"/>
                    <a:pt x="260" y="155"/>
                    <a:pt x="260" y="161"/>
                  </a:cubicBezTo>
                  <a:cubicBezTo>
                    <a:pt x="254" y="167"/>
                    <a:pt x="248" y="158"/>
                    <a:pt x="245" y="173"/>
                  </a:cubicBezTo>
                  <a:cubicBezTo>
                    <a:pt x="233" y="173"/>
                    <a:pt x="236" y="170"/>
                    <a:pt x="233" y="164"/>
                  </a:cubicBezTo>
                  <a:cubicBezTo>
                    <a:pt x="230" y="164"/>
                    <a:pt x="230" y="164"/>
                    <a:pt x="230" y="164"/>
                  </a:cubicBezTo>
                  <a:cubicBezTo>
                    <a:pt x="224" y="158"/>
                    <a:pt x="221" y="155"/>
                    <a:pt x="215" y="152"/>
                  </a:cubicBezTo>
                  <a:cubicBezTo>
                    <a:pt x="215" y="152"/>
                    <a:pt x="212" y="152"/>
                    <a:pt x="209" y="152"/>
                  </a:cubicBezTo>
                  <a:cubicBezTo>
                    <a:pt x="206" y="158"/>
                    <a:pt x="206" y="158"/>
                    <a:pt x="203" y="164"/>
                  </a:cubicBezTo>
                  <a:cubicBezTo>
                    <a:pt x="200" y="170"/>
                    <a:pt x="194" y="176"/>
                    <a:pt x="191" y="182"/>
                  </a:cubicBezTo>
                  <a:cubicBezTo>
                    <a:pt x="179" y="188"/>
                    <a:pt x="179" y="188"/>
                    <a:pt x="173" y="197"/>
                  </a:cubicBezTo>
                  <a:cubicBezTo>
                    <a:pt x="170" y="197"/>
                    <a:pt x="167" y="200"/>
                    <a:pt x="161" y="200"/>
                  </a:cubicBezTo>
                  <a:cubicBezTo>
                    <a:pt x="158" y="203"/>
                    <a:pt x="155" y="206"/>
                    <a:pt x="152" y="209"/>
                  </a:cubicBezTo>
                  <a:cubicBezTo>
                    <a:pt x="137" y="209"/>
                    <a:pt x="134" y="209"/>
                    <a:pt x="128" y="215"/>
                  </a:cubicBezTo>
                  <a:cubicBezTo>
                    <a:pt x="128" y="215"/>
                    <a:pt x="128" y="218"/>
                    <a:pt x="125" y="221"/>
                  </a:cubicBezTo>
                  <a:cubicBezTo>
                    <a:pt x="125" y="221"/>
                    <a:pt x="122" y="221"/>
                    <a:pt x="119" y="221"/>
                  </a:cubicBezTo>
                  <a:cubicBezTo>
                    <a:pt x="107" y="215"/>
                    <a:pt x="107" y="218"/>
                    <a:pt x="98" y="221"/>
                  </a:cubicBezTo>
                  <a:cubicBezTo>
                    <a:pt x="87" y="224"/>
                    <a:pt x="78" y="227"/>
                    <a:pt x="69" y="230"/>
                  </a:cubicBezTo>
                  <a:cubicBezTo>
                    <a:pt x="54" y="233"/>
                    <a:pt x="48" y="233"/>
                    <a:pt x="39" y="242"/>
                  </a:cubicBezTo>
                  <a:cubicBezTo>
                    <a:pt x="39" y="248"/>
                    <a:pt x="36" y="251"/>
                    <a:pt x="36" y="254"/>
                  </a:cubicBezTo>
                  <a:cubicBezTo>
                    <a:pt x="27" y="260"/>
                    <a:pt x="24" y="260"/>
                    <a:pt x="24" y="272"/>
                  </a:cubicBezTo>
                  <a:cubicBezTo>
                    <a:pt x="30" y="275"/>
                    <a:pt x="42" y="284"/>
                    <a:pt x="42" y="296"/>
                  </a:cubicBezTo>
                  <a:cubicBezTo>
                    <a:pt x="36" y="299"/>
                    <a:pt x="30" y="302"/>
                    <a:pt x="27" y="302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auto">
            <a:xfrm>
              <a:off x="7635727" y="2799452"/>
              <a:ext cx="121933" cy="155394"/>
            </a:xfrm>
            <a:custGeom>
              <a:avLst/>
              <a:gdLst>
                <a:gd name="T0" fmla="*/ 466963009 w 209"/>
                <a:gd name="T1" fmla="*/ 1856664263 h 270"/>
                <a:gd name="T2" fmla="*/ 405158140 w 209"/>
                <a:gd name="T3" fmla="*/ 1732885815 h 270"/>
                <a:gd name="T4" fmla="*/ 405158140 w 209"/>
                <a:gd name="T5" fmla="*/ 1732885815 h 270"/>
                <a:gd name="T6" fmla="*/ 206011946 w 209"/>
                <a:gd name="T7" fmla="*/ 1464701800 h 270"/>
                <a:gd name="T8" fmla="*/ 20602502 w 209"/>
                <a:gd name="T9" fmla="*/ 1444072059 h 270"/>
                <a:gd name="T10" fmla="*/ 41202383 w 209"/>
                <a:gd name="T11" fmla="*/ 1237776940 h 270"/>
                <a:gd name="T12" fmla="*/ 41202383 w 209"/>
                <a:gd name="T13" fmla="*/ 1072739010 h 270"/>
                <a:gd name="T14" fmla="*/ 144209656 w 209"/>
                <a:gd name="T15" fmla="*/ 928333443 h 270"/>
                <a:gd name="T16" fmla="*/ 164809532 w 209"/>
                <a:gd name="T17" fmla="*/ 845814477 h 270"/>
                <a:gd name="T18" fmla="*/ 185412070 w 209"/>
                <a:gd name="T19" fmla="*/ 660146642 h 270"/>
                <a:gd name="T20" fmla="*/ 267816815 w 209"/>
                <a:gd name="T21" fmla="*/ 598257418 h 270"/>
                <a:gd name="T22" fmla="*/ 329621685 w 209"/>
                <a:gd name="T23" fmla="*/ 536370816 h 270"/>
                <a:gd name="T24" fmla="*/ 363955767 w 209"/>
                <a:gd name="T25" fmla="*/ 474481592 h 270"/>
                <a:gd name="T26" fmla="*/ 363955767 w 209"/>
                <a:gd name="T27" fmla="*/ 412592368 h 270"/>
                <a:gd name="T28" fmla="*/ 425760636 w 209"/>
                <a:gd name="T29" fmla="*/ 226924614 h 270"/>
                <a:gd name="T30" fmla="*/ 590570127 w 209"/>
                <a:gd name="T31" fmla="*/ 165037972 h 270"/>
                <a:gd name="T32" fmla="*/ 714180030 w 209"/>
                <a:gd name="T33" fmla="*/ 20629746 h 270"/>
                <a:gd name="T34" fmla="*/ 796584776 w 209"/>
                <a:gd name="T35" fmla="*/ 41259493 h 270"/>
                <a:gd name="T36" fmla="*/ 961394267 w 209"/>
                <a:gd name="T37" fmla="*/ 330073321 h 270"/>
                <a:gd name="T38" fmla="*/ 1167408751 w 209"/>
                <a:gd name="T39" fmla="*/ 350703144 h 270"/>
                <a:gd name="T40" fmla="*/ 1394023439 w 209"/>
                <a:gd name="T41" fmla="*/ 309443579 h 270"/>
                <a:gd name="T42" fmla="*/ 1435225812 w 209"/>
                <a:gd name="T43" fmla="*/ 309443579 h 270"/>
                <a:gd name="T44" fmla="*/ 1332218242 w 209"/>
                <a:gd name="T45" fmla="*/ 433222109 h 270"/>
                <a:gd name="T46" fmla="*/ 1332218242 w 209"/>
                <a:gd name="T47" fmla="*/ 536370816 h 270"/>
                <a:gd name="T48" fmla="*/ 1126206378 w 209"/>
                <a:gd name="T49" fmla="*/ 618887159 h 270"/>
                <a:gd name="T50" fmla="*/ 1208611124 w 209"/>
                <a:gd name="T51" fmla="*/ 701406288 h 270"/>
                <a:gd name="T52" fmla="*/ 1249813497 w 209"/>
                <a:gd name="T53" fmla="*/ 722036029 h 270"/>
                <a:gd name="T54" fmla="*/ 1208611124 w 209"/>
                <a:gd name="T55" fmla="*/ 763295512 h 270"/>
                <a:gd name="T56" fmla="*/ 1188008627 w 209"/>
                <a:gd name="T57" fmla="*/ 1031479527 h 270"/>
                <a:gd name="T58" fmla="*/ 1229213620 w 209"/>
                <a:gd name="T59" fmla="*/ 1052109268 h 270"/>
                <a:gd name="T60" fmla="*/ 1229213620 w 209"/>
                <a:gd name="T61" fmla="*/ 1072739010 h 270"/>
                <a:gd name="T62" fmla="*/ 1208611124 w 209"/>
                <a:gd name="T63" fmla="*/ 1052109268 h 270"/>
                <a:gd name="T64" fmla="*/ 1105603882 w 209"/>
                <a:gd name="T65" fmla="*/ 1072739010 h 270"/>
                <a:gd name="T66" fmla="*/ 1105603882 w 209"/>
                <a:gd name="T67" fmla="*/ 1155257975 h 270"/>
                <a:gd name="T68" fmla="*/ 1002596639 w 209"/>
                <a:gd name="T69" fmla="*/ 1340923024 h 270"/>
                <a:gd name="T70" fmla="*/ 920191894 w 209"/>
                <a:gd name="T71" fmla="*/ 1402812576 h 270"/>
                <a:gd name="T72" fmla="*/ 817184652 w 209"/>
                <a:gd name="T73" fmla="*/ 1423442317 h 270"/>
                <a:gd name="T74" fmla="*/ 837787148 w 209"/>
                <a:gd name="T75" fmla="*/ 1526591024 h 270"/>
                <a:gd name="T76" fmla="*/ 590570127 w 209"/>
                <a:gd name="T77" fmla="*/ 1732885815 h 270"/>
                <a:gd name="T78" fmla="*/ 569970251 w 209"/>
                <a:gd name="T79" fmla="*/ 1774145298 h 270"/>
                <a:gd name="T80" fmla="*/ 466963009 w 209"/>
                <a:gd name="T81" fmla="*/ 1856664263 h 27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9"/>
                <a:gd name="T124" fmla="*/ 0 h 270"/>
                <a:gd name="T125" fmla="*/ 209 w 209"/>
                <a:gd name="T126" fmla="*/ 270 h 27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9" h="270">
                  <a:moveTo>
                    <a:pt x="68" y="270"/>
                  </a:moveTo>
                  <a:cubicBezTo>
                    <a:pt x="68" y="261"/>
                    <a:pt x="62" y="255"/>
                    <a:pt x="59" y="252"/>
                  </a:cubicBezTo>
                  <a:cubicBezTo>
                    <a:pt x="59" y="252"/>
                    <a:pt x="59" y="252"/>
                    <a:pt x="59" y="252"/>
                  </a:cubicBezTo>
                  <a:cubicBezTo>
                    <a:pt x="51" y="237"/>
                    <a:pt x="42" y="225"/>
                    <a:pt x="30" y="213"/>
                  </a:cubicBezTo>
                  <a:cubicBezTo>
                    <a:pt x="18" y="210"/>
                    <a:pt x="9" y="213"/>
                    <a:pt x="3" y="210"/>
                  </a:cubicBezTo>
                  <a:cubicBezTo>
                    <a:pt x="0" y="198"/>
                    <a:pt x="3" y="192"/>
                    <a:pt x="6" y="180"/>
                  </a:cubicBezTo>
                  <a:cubicBezTo>
                    <a:pt x="9" y="171"/>
                    <a:pt x="6" y="162"/>
                    <a:pt x="6" y="156"/>
                  </a:cubicBezTo>
                  <a:cubicBezTo>
                    <a:pt x="12" y="147"/>
                    <a:pt x="18" y="141"/>
                    <a:pt x="21" y="135"/>
                  </a:cubicBezTo>
                  <a:cubicBezTo>
                    <a:pt x="21" y="132"/>
                    <a:pt x="24" y="129"/>
                    <a:pt x="24" y="123"/>
                  </a:cubicBezTo>
                  <a:cubicBezTo>
                    <a:pt x="24" y="114"/>
                    <a:pt x="21" y="102"/>
                    <a:pt x="27" y="96"/>
                  </a:cubicBezTo>
                  <a:cubicBezTo>
                    <a:pt x="30" y="93"/>
                    <a:pt x="36" y="90"/>
                    <a:pt x="39" y="87"/>
                  </a:cubicBezTo>
                  <a:cubicBezTo>
                    <a:pt x="42" y="84"/>
                    <a:pt x="45" y="81"/>
                    <a:pt x="48" y="78"/>
                  </a:cubicBezTo>
                  <a:cubicBezTo>
                    <a:pt x="51" y="75"/>
                    <a:pt x="51" y="72"/>
                    <a:pt x="53" y="69"/>
                  </a:cubicBezTo>
                  <a:cubicBezTo>
                    <a:pt x="53" y="66"/>
                    <a:pt x="53" y="63"/>
                    <a:pt x="53" y="60"/>
                  </a:cubicBezTo>
                  <a:cubicBezTo>
                    <a:pt x="45" y="42"/>
                    <a:pt x="48" y="39"/>
                    <a:pt x="62" y="33"/>
                  </a:cubicBezTo>
                  <a:cubicBezTo>
                    <a:pt x="71" y="30"/>
                    <a:pt x="77" y="30"/>
                    <a:pt x="86" y="24"/>
                  </a:cubicBezTo>
                  <a:cubicBezTo>
                    <a:pt x="95" y="21"/>
                    <a:pt x="101" y="9"/>
                    <a:pt x="104" y="3"/>
                  </a:cubicBezTo>
                  <a:cubicBezTo>
                    <a:pt x="107" y="0"/>
                    <a:pt x="110" y="0"/>
                    <a:pt x="116" y="6"/>
                  </a:cubicBezTo>
                  <a:cubicBezTo>
                    <a:pt x="122" y="18"/>
                    <a:pt x="122" y="39"/>
                    <a:pt x="140" y="48"/>
                  </a:cubicBezTo>
                  <a:cubicBezTo>
                    <a:pt x="149" y="51"/>
                    <a:pt x="161" y="51"/>
                    <a:pt x="170" y="51"/>
                  </a:cubicBezTo>
                  <a:cubicBezTo>
                    <a:pt x="176" y="45"/>
                    <a:pt x="191" y="45"/>
                    <a:pt x="203" y="45"/>
                  </a:cubicBezTo>
                  <a:cubicBezTo>
                    <a:pt x="206" y="45"/>
                    <a:pt x="206" y="45"/>
                    <a:pt x="209" y="45"/>
                  </a:cubicBezTo>
                  <a:cubicBezTo>
                    <a:pt x="203" y="51"/>
                    <a:pt x="197" y="54"/>
                    <a:pt x="194" y="63"/>
                  </a:cubicBezTo>
                  <a:cubicBezTo>
                    <a:pt x="194" y="69"/>
                    <a:pt x="194" y="75"/>
                    <a:pt x="194" y="78"/>
                  </a:cubicBezTo>
                  <a:cubicBezTo>
                    <a:pt x="179" y="78"/>
                    <a:pt x="161" y="75"/>
                    <a:pt x="164" y="90"/>
                  </a:cubicBezTo>
                  <a:cubicBezTo>
                    <a:pt x="170" y="93"/>
                    <a:pt x="173" y="96"/>
                    <a:pt x="176" y="102"/>
                  </a:cubicBezTo>
                  <a:cubicBezTo>
                    <a:pt x="179" y="102"/>
                    <a:pt x="182" y="105"/>
                    <a:pt x="182" y="105"/>
                  </a:cubicBezTo>
                  <a:cubicBezTo>
                    <a:pt x="182" y="108"/>
                    <a:pt x="179" y="111"/>
                    <a:pt x="176" y="111"/>
                  </a:cubicBezTo>
                  <a:cubicBezTo>
                    <a:pt x="176" y="123"/>
                    <a:pt x="167" y="138"/>
                    <a:pt x="173" y="150"/>
                  </a:cubicBezTo>
                  <a:cubicBezTo>
                    <a:pt x="176" y="150"/>
                    <a:pt x="176" y="153"/>
                    <a:pt x="179" y="153"/>
                  </a:cubicBezTo>
                  <a:cubicBezTo>
                    <a:pt x="179" y="156"/>
                    <a:pt x="179" y="156"/>
                    <a:pt x="179" y="156"/>
                  </a:cubicBezTo>
                  <a:cubicBezTo>
                    <a:pt x="176" y="153"/>
                    <a:pt x="176" y="153"/>
                    <a:pt x="176" y="153"/>
                  </a:cubicBezTo>
                  <a:cubicBezTo>
                    <a:pt x="173" y="153"/>
                    <a:pt x="167" y="153"/>
                    <a:pt x="161" y="156"/>
                  </a:cubicBezTo>
                  <a:cubicBezTo>
                    <a:pt x="158" y="159"/>
                    <a:pt x="161" y="159"/>
                    <a:pt x="161" y="168"/>
                  </a:cubicBezTo>
                  <a:cubicBezTo>
                    <a:pt x="146" y="180"/>
                    <a:pt x="149" y="174"/>
                    <a:pt x="146" y="195"/>
                  </a:cubicBezTo>
                  <a:cubicBezTo>
                    <a:pt x="143" y="198"/>
                    <a:pt x="137" y="201"/>
                    <a:pt x="134" y="204"/>
                  </a:cubicBezTo>
                  <a:cubicBezTo>
                    <a:pt x="128" y="204"/>
                    <a:pt x="122" y="207"/>
                    <a:pt x="119" y="207"/>
                  </a:cubicBezTo>
                  <a:cubicBezTo>
                    <a:pt x="113" y="210"/>
                    <a:pt x="113" y="216"/>
                    <a:pt x="122" y="222"/>
                  </a:cubicBezTo>
                  <a:cubicBezTo>
                    <a:pt x="104" y="225"/>
                    <a:pt x="95" y="240"/>
                    <a:pt x="86" y="252"/>
                  </a:cubicBezTo>
                  <a:cubicBezTo>
                    <a:pt x="86" y="252"/>
                    <a:pt x="86" y="255"/>
                    <a:pt x="83" y="258"/>
                  </a:cubicBezTo>
                  <a:cubicBezTo>
                    <a:pt x="80" y="264"/>
                    <a:pt x="74" y="267"/>
                    <a:pt x="68" y="270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7416954" y="2751021"/>
              <a:ext cx="155509" cy="186751"/>
            </a:xfrm>
            <a:custGeom>
              <a:avLst/>
              <a:gdLst>
                <a:gd name="T0" fmla="*/ 1130871309 w 266"/>
                <a:gd name="T1" fmla="*/ 2147483647 h 324"/>
                <a:gd name="T2" fmla="*/ 965379404 w 266"/>
                <a:gd name="T3" fmla="*/ 2147483647 h 324"/>
                <a:gd name="T4" fmla="*/ 930900830 w 266"/>
                <a:gd name="T5" fmla="*/ 2147483647 h 324"/>
                <a:gd name="T6" fmla="*/ 806780588 w 266"/>
                <a:gd name="T7" fmla="*/ 2069131306 h 324"/>
                <a:gd name="T8" fmla="*/ 806780588 w 266"/>
                <a:gd name="T9" fmla="*/ 2027749744 h 324"/>
                <a:gd name="T10" fmla="*/ 910213685 w 266"/>
                <a:gd name="T11" fmla="*/ 1779455116 h 324"/>
                <a:gd name="T12" fmla="*/ 806780588 w 266"/>
                <a:gd name="T13" fmla="*/ 1613923614 h 324"/>
                <a:gd name="T14" fmla="*/ 703347490 w 266"/>
                <a:gd name="T15" fmla="*/ 1572539425 h 324"/>
                <a:gd name="T16" fmla="*/ 579227084 w 266"/>
                <a:gd name="T17" fmla="*/ 1593231519 h 324"/>
                <a:gd name="T18" fmla="*/ 455106842 w 266"/>
                <a:gd name="T19" fmla="*/ 1696689365 h 324"/>
                <a:gd name="T20" fmla="*/ 330986519 w 266"/>
                <a:gd name="T21" fmla="*/ 1717378833 h 324"/>
                <a:gd name="T22" fmla="*/ 227553421 w 266"/>
                <a:gd name="T23" fmla="*/ 1551849957 h 324"/>
                <a:gd name="T24" fmla="*/ 206866277 w 266"/>
                <a:gd name="T25" fmla="*/ 1531157862 h 324"/>
                <a:gd name="T26" fmla="*/ 206866277 w 266"/>
                <a:gd name="T27" fmla="*/ 1241478718 h 324"/>
                <a:gd name="T28" fmla="*/ 0 w 266"/>
                <a:gd name="T29" fmla="*/ 1282862907 h 324"/>
                <a:gd name="T30" fmla="*/ 103433138 w 266"/>
                <a:gd name="T31" fmla="*/ 1179405061 h 324"/>
                <a:gd name="T32" fmla="*/ 206866277 w 266"/>
                <a:gd name="T33" fmla="*/ 1013873559 h 324"/>
                <a:gd name="T34" fmla="*/ 165494572 w 266"/>
                <a:gd name="T35" fmla="*/ 806960494 h 324"/>
                <a:gd name="T36" fmla="*/ 144807428 w 266"/>
                <a:gd name="T37" fmla="*/ 558665702 h 324"/>
                <a:gd name="T38" fmla="*/ 124120283 w 266"/>
                <a:gd name="T39" fmla="*/ 475899951 h 324"/>
                <a:gd name="T40" fmla="*/ 268927711 w 266"/>
                <a:gd name="T41" fmla="*/ 289678898 h 324"/>
                <a:gd name="T42" fmla="*/ 475793987 w 266"/>
                <a:gd name="T43" fmla="*/ 227605241 h 324"/>
                <a:gd name="T44" fmla="*/ 579227084 w 266"/>
                <a:gd name="T45" fmla="*/ 186221053 h 324"/>
                <a:gd name="T46" fmla="*/ 517165650 w 266"/>
                <a:gd name="T47" fmla="*/ 62073677 h 324"/>
                <a:gd name="T48" fmla="*/ 724034635 w 266"/>
                <a:gd name="T49" fmla="*/ 82765772 h 324"/>
                <a:gd name="T50" fmla="*/ 827467732 w 266"/>
                <a:gd name="T51" fmla="*/ 82765772 h 324"/>
                <a:gd name="T52" fmla="*/ 1068812501 w 266"/>
                <a:gd name="T53" fmla="*/ 227605241 h 324"/>
                <a:gd name="T54" fmla="*/ 1172245599 w 266"/>
                <a:gd name="T55" fmla="*/ 268986804 h 324"/>
                <a:gd name="T56" fmla="*/ 1275678696 w 266"/>
                <a:gd name="T57" fmla="*/ 268986804 h 324"/>
                <a:gd name="T58" fmla="*/ 1337737504 w 266"/>
                <a:gd name="T59" fmla="*/ 186221053 h 324"/>
                <a:gd name="T60" fmla="*/ 1482545219 w 266"/>
                <a:gd name="T61" fmla="*/ 289678898 h 324"/>
                <a:gd name="T62" fmla="*/ 1544604027 w 266"/>
                <a:gd name="T63" fmla="*/ 310370993 h 324"/>
                <a:gd name="T64" fmla="*/ 1772159992 w 266"/>
                <a:gd name="T65" fmla="*/ 496592045 h 324"/>
                <a:gd name="T66" fmla="*/ 1772159992 w 266"/>
                <a:gd name="T67" fmla="*/ 765578931 h 324"/>
                <a:gd name="T68" fmla="*/ 1689411413 w 266"/>
                <a:gd name="T69" fmla="*/ 1138023499 h 324"/>
                <a:gd name="T70" fmla="*/ 1710098558 w 266"/>
                <a:gd name="T71" fmla="*/ 1200097155 h 324"/>
                <a:gd name="T72" fmla="*/ 1792844510 w 266"/>
                <a:gd name="T73" fmla="*/ 1469084206 h 324"/>
                <a:gd name="T74" fmla="*/ 1813531655 w 266"/>
                <a:gd name="T75" fmla="*/ 1655305176 h 324"/>
                <a:gd name="T76" fmla="*/ 1834218800 w 266"/>
                <a:gd name="T77" fmla="*/ 1882910335 h 324"/>
                <a:gd name="T78" fmla="*/ 1461858074 w 266"/>
                <a:gd name="T79" fmla="*/ 1882910335 h 324"/>
                <a:gd name="T80" fmla="*/ 1523919508 w 266"/>
                <a:gd name="T81" fmla="*/ 2027749744 h 324"/>
                <a:gd name="T82" fmla="*/ 1503232363 w 266"/>
                <a:gd name="T83" fmla="*/ 2089823400 h 324"/>
                <a:gd name="T84" fmla="*/ 1379112121 w 266"/>
                <a:gd name="T85" fmla="*/ 1986368181 h 324"/>
                <a:gd name="T86" fmla="*/ 1254991551 w 266"/>
                <a:gd name="T87" fmla="*/ 1986368181 h 324"/>
                <a:gd name="T88" fmla="*/ 1192932743 w 266"/>
                <a:gd name="T89" fmla="*/ 2089823400 h 324"/>
                <a:gd name="T90" fmla="*/ 1130871309 w 266"/>
                <a:gd name="T91" fmla="*/ 2147483647 h 32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66"/>
                <a:gd name="T139" fmla="*/ 0 h 324"/>
                <a:gd name="T140" fmla="*/ 266 w 266"/>
                <a:gd name="T141" fmla="*/ 324 h 32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66" h="324">
                  <a:moveTo>
                    <a:pt x="164" y="324"/>
                  </a:moveTo>
                  <a:cubicBezTo>
                    <a:pt x="155" y="315"/>
                    <a:pt x="146" y="321"/>
                    <a:pt x="140" y="321"/>
                  </a:cubicBezTo>
                  <a:cubicBezTo>
                    <a:pt x="138" y="321"/>
                    <a:pt x="138" y="318"/>
                    <a:pt x="135" y="315"/>
                  </a:cubicBezTo>
                  <a:cubicBezTo>
                    <a:pt x="135" y="297"/>
                    <a:pt x="123" y="300"/>
                    <a:pt x="117" y="300"/>
                  </a:cubicBezTo>
                  <a:cubicBezTo>
                    <a:pt x="117" y="300"/>
                    <a:pt x="117" y="297"/>
                    <a:pt x="117" y="294"/>
                  </a:cubicBezTo>
                  <a:cubicBezTo>
                    <a:pt x="123" y="282"/>
                    <a:pt x="132" y="270"/>
                    <a:pt x="132" y="258"/>
                  </a:cubicBezTo>
                  <a:cubicBezTo>
                    <a:pt x="126" y="249"/>
                    <a:pt x="117" y="243"/>
                    <a:pt x="117" y="234"/>
                  </a:cubicBezTo>
                  <a:cubicBezTo>
                    <a:pt x="111" y="225"/>
                    <a:pt x="108" y="228"/>
                    <a:pt x="102" y="228"/>
                  </a:cubicBezTo>
                  <a:cubicBezTo>
                    <a:pt x="96" y="231"/>
                    <a:pt x="90" y="231"/>
                    <a:pt x="84" y="231"/>
                  </a:cubicBezTo>
                  <a:cubicBezTo>
                    <a:pt x="78" y="240"/>
                    <a:pt x="72" y="243"/>
                    <a:pt x="66" y="246"/>
                  </a:cubicBezTo>
                  <a:cubicBezTo>
                    <a:pt x="60" y="246"/>
                    <a:pt x="54" y="249"/>
                    <a:pt x="48" y="249"/>
                  </a:cubicBezTo>
                  <a:cubicBezTo>
                    <a:pt x="48" y="234"/>
                    <a:pt x="39" y="231"/>
                    <a:pt x="33" y="225"/>
                  </a:cubicBezTo>
                  <a:cubicBezTo>
                    <a:pt x="30" y="222"/>
                    <a:pt x="30" y="222"/>
                    <a:pt x="30" y="222"/>
                  </a:cubicBezTo>
                  <a:cubicBezTo>
                    <a:pt x="30" y="207"/>
                    <a:pt x="30" y="195"/>
                    <a:pt x="30" y="180"/>
                  </a:cubicBezTo>
                  <a:cubicBezTo>
                    <a:pt x="18" y="180"/>
                    <a:pt x="9" y="183"/>
                    <a:pt x="0" y="186"/>
                  </a:cubicBezTo>
                  <a:cubicBezTo>
                    <a:pt x="0" y="171"/>
                    <a:pt x="3" y="174"/>
                    <a:pt x="15" y="171"/>
                  </a:cubicBezTo>
                  <a:cubicBezTo>
                    <a:pt x="24" y="168"/>
                    <a:pt x="30" y="156"/>
                    <a:pt x="30" y="147"/>
                  </a:cubicBezTo>
                  <a:cubicBezTo>
                    <a:pt x="27" y="135"/>
                    <a:pt x="24" y="126"/>
                    <a:pt x="24" y="117"/>
                  </a:cubicBezTo>
                  <a:cubicBezTo>
                    <a:pt x="21" y="105"/>
                    <a:pt x="21" y="93"/>
                    <a:pt x="21" y="81"/>
                  </a:cubicBezTo>
                  <a:cubicBezTo>
                    <a:pt x="21" y="78"/>
                    <a:pt x="21" y="72"/>
                    <a:pt x="18" y="69"/>
                  </a:cubicBezTo>
                  <a:cubicBezTo>
                    <a:pt x="30" y="63"/>
                    <a:pt x="36" y="54"/>
                    <a:pt x="39" y="42"/>
                  </a:cubicBezTo>
                  <a:cubicBezTo>
                    <a:pt x="48" y="36"/>
                    <a:pt x="57" y="30"/>
                    <a:pt x="69" y="33"/>
                  </a:cubicBezTo>
                  <a:cubicBezTo>
                    <a:pt x="75" y="33"/>
                    <a:pt x="81" y="33"/>
                    <a:pt x="84" y="27"/>
                  </a:cubicBezTo>
                  <a:cubicBezTo>
                    <a:pt x="84" y="15"/>
                    <a:pt x="81" y="12"/>
                    <a:pt x="75" y="9"/>
                  </a:cubicBezTo>
                  <a:cubicBezTo>
                    <a:pt x="78" y="0"/>
                    <a:pt x="93" y="6"/>
                    <a:pt x="105" y="12"/>
                  </a:cubicBezTo>
                  <a:cubicBezTo>
                    <a:pt x="108" y="12"/>
                    <a:pt x="114" y="12"/>
                    <a:pt x="120" y="12"/>
                  </a:cubicBezTo>
                  <a:cubicBezTo>
                    <a:pt x="129" y="18"/>
                    <a:pt x="143" y="24"/>
                    <a:pt x="155" y="33"/>
                  </a:cubicBezTo>
                  <a:cubicBezTo>
                    <a:pt x="158" y="33"/>
                    <a:pt x="164" y="36"/>
                    <a:pt x="170" y="39"/>
                  </a:cubicBezTo>
                  <a:cubicBezTo>
                    <a:pt x="173" y="39"/>
                    <a:pt x="179" y="39"/>
                    <a:pt x="185" y="39"/>
                  </a:cubicBezTo>
                  <a:cubicBezTo>
                    <a:pt x="188" y="33"/>
                    <a:pt x="191" y="30"/>
                    <a:pt x="194" y="27"/>
                  </a:cubicBezTo>
                  <a:cubicBezTo>
                    <a:pt x="200" y="27"/>
                    <a:pt x="206" y="30"/>
                    <a:pt x="215" y="42"/>
                  </a:cubicBezTo>
                  <a:cubicBezTo>
                    <a:pt x="218" y="42"/>
                    <a:pt x="221" y="45"/>
                    <a:pt x="224" y="45"/>
                  </a:cubicBezTo>
                  <a:cubicBezTo>
                    <a:pt x="233" y="48"/>
                    <a:pt x="245" y="60"/>
                    <a:pt x="257" y="72"/>
                  </a:cubicBezTo>
                  <a:cubicBezTo>
                    <a:pt x="260" y="84"/>
                    <a:pt x="263" y="96"/>
                    <a:pt x="257" y="111"/>
                  </a:cubicBezTo>
                  <a:cubicBezTo>
                    <a:pt x="239" y="129"/>
                    <a:pt x="230" y="138"/>
                    <a:pt x="245" y="165"/>
                  </a:cubicBezTo>
                  <a:cubicBezTo>
                    <a:pt x="245" y="168"/>
                    <a:pt x="248" y="171"/>
                    <a:pt x="248" y="174"/>
                  </a:cubicBezTo>
                  <a:cubicBezTo>
                    <a:pt x="251" y="177"/>
                    <a:pt x="257" y="201"/>
                    <a:pt x="260" y="213"/>
                  </a:cubicBezTo>
                  <a:cubicBezTo>
                    <a:pt x="266" y="222"/>
                    <a:pt x="266" y="228"/>
                    <a:pt x="263" y="240"/>
                  </a:cubicBezTo>
                  <a:cubicBezTo>
                    <a:pt x="263" y="249"/>
                    <a:pt x="263" y="258"/>
                    <a:pt x="266" y="273"/>
                  </a:cubicBezTo>
                  <a:cubicBezTo>
                    <a:pt x="248" y="273"/>
                    <a:pt x="230" y="273"/>
                    <a:pt x="212" y="273"/>
                  </a:cubicBezTo>
                  <a:cubicBezTo>
                    <a:pt x="206" y="279"/>
                    <a:pt x="215" y="288"/>
                    <a:pt x="221" y="294"/>
                  </a:cubicBezTo>
                  <a:cubicBezTo>
                    <a:pt x="221" y="297"/>
                    <a:pt x="218" y="300"/>
                    <a:pt x="218" y="303"/>
                  </a:cubicBezTo>
                  <a:cubicBezTo>
                    <a:pt x="212" y="303"/>
                    <a:pt x="200" y="288"/>
                    <a:pt x="200" y="288"/>
                  </a:cubicBezTo>
                  <a:cubicBezTo>
                    <a:pt x="194" y="288"/>
                    <a:pt x="188" y="288"/>
                    <a:pt x="182" y="288"/>
                  </a:cubicBezTo>
                  <a:cubicBezTo>
                    <a:pt x="179" y="291"/>
                    <a:pt x="176" y="297"/>
                    <a:pt x="173" y="303"/>
                  </a:cubicBezTo>
                  <a:cubicBezTo>
                    <a:pt x="173" y="306"/>
                    <a:pt x="173" y="318"/>
                    <a:pt x="164" y="324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0" name="Freeform 27"/>
            <p:cNvSpPr>
              <a:spLocks/>
            </p:cNvSpPr>
            <p:nvPr/>
          </p:nvSpPr>
          <p:spPr bwMode="auto">
            <a:xfrm>
              <a:off x="7457245" y="2541623"/>
              <a:ext cx="162577" cy="155742"/>
            </a:xfrm>
            <a:custGeom>
              <a:avLst/>
              <a:gdLst>
                <a:gd name="T0" fmla="*/ 1649117203 w 278"/>
                <a:gd name="T1" fmla="*/ 1865002072 h 270"/>
                <a:gd name="T2" fmla="*/ 1483516014 w 278"/>
                <a:gd name="T3" fmla="*/ 1844278754 h 270"/>
                <a:gd name="T4" fmla="*/ 1359312824 w 278"/>
                <a:gd name="T5" fmla="*/ 1782114055 h 270"/>
                <a:gd name="T6" fmla="*/ 1131611518 w 278"/>
                <a:gd name="T7" fmla="*/ 1740667418 h 270"/>
                <a:gd name="T8" fmla="*/ 1069511400 w 278"/>
                <a:gd name="T9" fmla="*/ 1637056082 h 270"/>
                <a:gd name="T10" fmla="*/ 966010329 w 278"/>
                <a:gd name="T11" fmla="*/ 1574891383 h 270"/>
                <a:gd name="T12" fmla="*/ 552005879 w 278"/>
                <a:gd name="T13" fmla="*/ 1554168065 h 270"/>
                <a:gd name="T14" fmla="*/ 289804133 w 278"/>
                <a:gd name="T15" fmla="*/ 1429836039 h 270"/>
                <a:gd name="T16" fmla="*/ 207002225 w 278"/>
                <a:gd name="T17" fmla="*/ 1346945065 h 270"/>
                <a:gd name="T18" fmla="*/ 62100138 w 278"/>
                <a:gd name="T19" fmla="*/ 1015390368 h 270"/>
                <a:gd name="T20" fmla="*/ 0 w 278"/>
                <a:gd name="T21" fmla="*/ 849611705 h 270"/>
                <a:gd name="T22" fmla="*/ 0 w 278"/>
                <a:gd name="T23" fmla="*/ 725279679 h 270"/>
                <a:gd name="T24" fmla="*/ 165601230 w 278"/>
                <a:gd name="T25" fmla="*/ 621668179 h 270"/>
                <a:gd name="T26" fmla="*/ 227701389 w 278"/>
                <a:gd name="T27" fmla="*/ 600944860 h 270"/>
                <a:gd name="T28" fmla="*/ 476104568 w 278"/>
                <a:gd name="T29" fmla="*/ 497333525 h 270"/>
                <a:gd name="T30" fmla="*/ 696908068 w 278"/>
                <a:gd name="T31" fmla="*/ 435166197 h 270"/>
                <a:gd name="T32" fmla="*/ 883208421 w 278"/>
                <a:gd name="T33" fmla="*/ 290110771 h 270"/>
                <a:gd name="T34" fmla="*/ 966010329 w 278"/>
                <a:gd name="T35" fmla="*/ 0 h 270"/>
                <a:gd name="T36" fmla="*/ 1152310681 w 278"/>
                <a:gd name="T37" fmla="*/ 41444019 h 270"/>
                <a:gd name="T38" fmla="*/ 1421413270 w 278"/>
                <a:gd name="T39" fmla="*/ 41444019 h 270"/>
                <a:gd name="T40" fmla="*/ 1462814224 w 278"/>
                <a:gd name="T41" fmla="*/ 103611377 h 270"/>
                <a:gd name="T42" fmla="*/ 1504215178 w 278"/>
                <a:gd name="T43" fmla="*/ 290110771 h 270"/>
                <a:gd name="T44" fmla="*/ 1400714106 w 278"/>
                <a:gd name="T45" fmla="*/ 414445507 h 270"/>
                <a:gd name="T46" fmla="*/ 1359312824 w 278"/>
                <a:gd name="T47" fmla="*/ 435166197 h 270"/>
                <a:gd name="T48" fmla="*/ 1359312824 w 278"/>
                <a:gd name="T49" fmla="*/ 455889516 h 270"/>
                <a:gd name="T50" fmla="*/ 1483516014 w 278"/>
                <a:gd name="T51" fmla="*/ 538777533 h 270"/>
                <a:gd name="T52" fmla="*/ 1483516014 w 278"/>
                <a:gd name="T53" fmla="*/ 559500852 h 270"/>
                <a:gd name="T54" fmla="*/ 1752618275 w 278"/>
                <a:gd name="T55" fmla="*/ 642388869 h 270"/>
                <a:gd name="T56" fmla="*/ 1814718392 w 278"/>
                <a:gd name="T57" fmla="*/ 704556360 h 270"/>
                <a:gd name="T58" fmla="*/ 1918219464 w 278"/>
                <a:gd name="T59" fmla="*/ 787444378 h 270"/>
                <a:gd name="T60" fmla="*/ 1918219464 w 278"/>
                <a:gd name="T61" fmla="*/ 808167696 h 270"/>
                <a:gd name="T62" fmla="*/ 1856119346 w 278"/>
                <a:gd name="T63" fmla="*/ 973946359 h 270"/>
                <a:gd name="T64" fmla="*/ 1814718392 w 278"/>
                <a:gd name="T65" fmla="*/ 953223040 h 270"/>
                <a:gd name="T66" fmla="*/ 1628415413 w 278"/>
                <a:gd name="T67" fmla="*/ 808167696 h 270"/>
                <a:gd name="T68" fmla="*/ 1628415413 w 278"/>
                <a:gd name="T69" fmla="*/ 1056834376 h 270"/>
                <a:gd name="T70" fmla="*/ 1462814224 w 278"/>
                <a:gd name="T71" fmla="*/ 1222613039 h 270"/>
                <a:gd name="T72" fmla="*/ 1462814224 w 278"/>
                <a:gd name="T73" fmla="*/ 1305501056 h 270"/>
                <a:gd name="T74" fmla="*/ 1545616132 w 278"/>
                <a:gd name="T75" fmla="*/ 1367668383 h 270"/>
                <a:gd name="T76" fmla="*/ 1566315295 w 278"/>
                <a:gd name="T77" fmla="*/ 1492000738 h 270"/>
                <a:gd name="T78" fmla="*/ 1669816367 w 278"/>
                <a:gd name="T79" fmla="*/ 1533444747 h 270"/>
                <a:gd name="T80" fmla="*/ 1752618275 w 278"/>
                <a:gd name="T81" fmla="*/ 1512724056 h 270"/>
                <a:gd name="T82" fmla="*/ 1794019229 w 278"/>
                <a:gd name="T83" fmla="*/ 1740667418 h 270"/>
                <a:gd name="T84" fmla="*/ 1690518157 w 278"/>
                <a:gd name="T85" fmla="*/ 1802834745 h 270"/>
                <a:gd name="T86" fmla="*/ 1649117203 w 278"/>
                <a:gd name="T87" fmla="*/ 1865002072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78"/>
                <a:gd name="T133" fmla="*/ 0 h 270"/>
                <a:gd name="T134" fmla="*/ 278 w 278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78" h="270">
                  <a:moveTo>
                    <a:pt x="239" y="270"/>
                  </a:moveTo>
                  <a:cubicBezTo>
                    <a:pt x="230" y="270"/>
                    <a:pt x="224" y="270"/>
                    <a:pt x="215" y="267"/>
                  </a:cubicBezTo>
                  <a:cubicBezTo>
                    <a:pt x="209" y="264"/>
                    <a:pt x="203" y="261"/>
                    <a:pt x="197" y="258"/>
                  </a:cubicBezTo>
                  <a:cubicBezTo>
                    <a:pt x="179" y="258"/>
                    <a:pt x="173" y="258"/>
                    <a:pt x="164" y="252"/>
                  </a:cubicBezTo>
                  <a:cubicBezTo>
                    <a:pt x="161" y="246"/>
                    <a:pt x="158" y="243"/>
                    <a:pt x="155" y="237"/>
                  </a:cubicBezTo>
                  <a:cubicBezTo>
                    <a:pt x="149" y="234"/>
                    <a:pt x="146" y="231"/>
                    <a:pt x="140" y="228"/>
                  </a:cubicBezTo>
                  <a:cubicBezTo>
                    <a:pt x="119" y="228"/>
                    <a:pt x="98" y="228"/>
                    <a:pt x="80" y="225"/>
                  </a:cubicBezTo>
                  <a:cubicBezTo>
                    <a:pt x="66" y="222"/>
                    <a:pt x="45" y="213"/>
                    <a:pt x="42" y="207"/>
                  </a:cubicBezTo>
                  <a:cubicBezTo>
                    <a:pt x="33" y="201"/>
                    <a:pt x="33" y="198"/>
                    <a:pt x="30" y="195"/>
                  </a:cubicBezTo>
                  <a:cubicBezTo>
                    <a:pt x="27" y="171"/>
                    <a:pt x="15" y="159"/>
                    <a:pt x="9" y="147"/>
                  </a:cubicBezTo>
                  <a:cubicBezTo>
                    <a:pt x="6" y="138"/>
                    <a:pt x="3" y="132"/>
                    <a:pt x="0" y="123"/>
                  </a:cubicBezTo>
                  <a:cubicBezTo>
                    <a:pt x="0" y="117"/>
                    <a:pt x="0" y="111"/>
                    <a:pt x="0" y="105"/>
                  </a:cubicBezTo>
                  <a:cubicBezTo>
                    <a:pt x="9" y="105"/>
                    <a:pt x="18" y="96"/>
                    <a:pt x="24" y="90"/>
                  </a:cubicBezTo>
                  <a:cubicBezTo>
                    <a:pt x="27" y="90"/>
                    <a:pt x="30" y="87"/>
                    <a:pt x="33" y="87"/>
                  </a:cubicBezTo>
                  <a:cubicBezTo>
                    <a:pt x="45" y="87"/>
                    <a:pt x="57" y="81"/>
                    <a:pt x="69" y="72"/>
                  </a:cubicBezTo>
                  <a:cubicBezTo>
                    <a:pt x="77" y="72"/>
                    <a:pt x="89" y="66"/>
                    <a:pt x="101" y="63"/>
                  </a:cubicBezTo>
                  <a:cubicBezTo>
                    <a:pt x="113" y="57"/>
                    <a:pt x="119" y="51"/>
                    <a:pt x="128" y="42"/>
                  </a:cubicBezTo>
                  <a:cubicBezTo>
                    <a:pt x="140" y="33"/>
                    <a:pt x="140" y="12"/>
                    <a:pt x="140" y="0"/>
                  </a:cubicBezTo>
                  <a:cubicBezTo>
                    <a:pt x="149" y="3"/>
                    <a:pt x="158" y="3"/>
                    <a:pt x="167" y="6"/>
                  </a:cubicBezTo>
                  <a:cubicBezTo>
                    <a:pt x="179" y="6"/>
                    <a:pt x="194" y="6"/>
                    <a:pt x="206" y="6"/>
                  </a:cubicBezTo>
                  <a:cubicBezTo>
                    <a:pt x="209" y="9"/>
                    <a:pt x="209" y="12"/>
                    <a:pt x="212" y="15"/>
                  </a:cubicBezTo>
                  <a:cubicBezTo>
                    <a:pt x="218" y="18"/>
                    <a:pt x="224" y="30"/>
                    <a:pt x="218" y="42"/>
                  </a:cubicBezTo>
                  <a:cubicBezTo>
                    <a:pt x="209" y="45"/>
                    <a:pt x="203" y="48"/>
                    <a:pt x="203" y="60"/>
                  </a:cubicBezTo>
                  <a:cubicBezTo>
                    <a:pt x="200" y="60"/>
                    <a:pt x="197" y="60"/>
                    <a:pt x="197" y="63"/>
                  </a:cubicBezTo>
                  <a:cubicBezTo>
                    <a:pt x="197" y="63"/>
                    <a:pt x="197" y="63"/>
                    <a:pt x="197" y="66"/>
                  </a:cubicBezTo>
                  <a:cubicBezTo>
                    <a:pt x="203" y="69"/>
                    <a:pt x="209" y="75"/>
                    <a:pt x="215" y="78"/>
                  </a:cubicBezTo>
                  <a:cubicBezTo>
                    <a:pt x="215" y="81"/>
                    <a:pt x="215" y="81"/>
                    <a:pt x="215" y="81"/>
                  </a:cubicBezTo>
                  <a:cubicBezTo>
                    <a:pt x="224" y="87"/>
                    <a:pt x="239" y="105"/>
                    <a:pt x="254" y="93"/>
                  </a:cubicBezTo>
                  <a:cubicBezTo>
                    <a:pt x="257" y="93"/>
                    <a:pt x="260" y="96"/>
                    <a:pt x="263" y="102"/>
                  </a:cubicBezTo>
                  <a:cubicBezTo>
                    <a:pt x="269" y="105"/>
                    <a:pt x="272" y="108"/>
                    <a:pt x="278" y="114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2" y="123"/>
                    <a:pt x="272" y="135"/>
                    <a:pt x="269" y="141"/>
                  </a:cubicBezTo>
                  <a:cubicBezTo>
                    <a:pt x="266" y="141"/>
                    <a:pt x="263" y="138"/>
                    <a:pt x="263" y="138"/>
                  </a:cubicBezTo>
                  <a:cubicBezTo>
                    <a:pt x="251" y="126"/>
                    <a:pt x="251" y="111"/>
                    <a:pt x="236" y="117"/>
                  </a:cubicBezTo>
                  <a:cubicBezTo>
                    <a:pt x="236" y="129"/>
                    <a:pt x="236" y="141"/>
                    <a:pt x="236" y="153"/>
                  </a:cubicBezTo>
                  <a:cubicBezTo>
                    <a:pt x="233" y="159"/>
                    <a:pt x="221" y="171"/>
                    <a:pt x="212" y="177"/>
                  </a:cubicBezTo>
                  <a:cubicBezTo>
                    <a:pt x="212" y="180"/>
                    <a:pt x="212" y="186"/>
                    <a:pt x="212" y="189"/>
                  </a:cubicBezTo>
                  <a:cubicBezTo>
                    <a:pt x="215" y="192"/>
                    <a:pt x="218" y="195"/>
                    <a:pt x="224" y="198"/>
                  </a:cubicBezTo>
                  <a:cubicBezTo>
                    <a:pt x="224" y="201"/>
                    <a:pt x="227" y="210"/>
                    <a:pt x="227" y="216"/>
                  </a:cubicBezTo>
                  <a:cubicBezTo>
                    <a:pt x="230" y="216"/>
                    <a:pt x="233" y="222"/>
                    <a:pt x="242" y="222"/>
                  </a:cubicBezTo>
                  <a:cubicBezTo>
                    <a:pt x="248" y="219"/>
                    <a:pt x="245" y="216"/>
                    <a:pt x="254" y="219"/>
                  </a:cubicBezTo>
                  <a:cubicBezTo>
                    <a:pt x="257" y="225"/>
                    <a:pt x="266" y="240"/>
                    <a:pt x="260" y="252"/>
                  </a:cubicBezTo>
                  <a:cubicBezTo>
                    <a:pt x="257" y="252"/>
                    <a:pt x="245" y="258"/>
                    <a:pt x="245" y="261"/>
                  </a:cubicBezTo>
                  <a:cubicBezTo>
                    <a:pt x="242" y="264"/>
                    <a:pt x="239" y="267"/>
                    <a:pt x="239" y="270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1" name="Freeform 28"/>
            <p:cNvSpPr>
              <a:spLocks/>
            </p:cNvSpPr>
            <p:nvPr/>
          </p:nvSpPr>
          <p:spPr bwMode="auto">
            <a:xfrm>
              <a:off x="7402817" y="2654162"/>
              <a:ext cx="220539" cy="133095"/>
            </a:xfrm>
            <a:custGeom>
              <a:avLst/>
              <a:gdLst>
                <a:gd name="T0" fmla="*/ 289977774 w 377"/>
                <a:gd name="T1" fmla="*/ 1591997121 h 231"/>
                <a:gd name="T2" fmla="*/ 20713260 w 377"/>
                <a:gd name="T3" fmla="*/ 1302543129 h 231"/>
                <a:gd name="T4" fmla="*/ 20713260 w 377"/>
                <a:gd name="T5" fmla="*/ 1199167383 h 231"/>
                <a:gd name="T6" fmla="*/ 41426521 w 377"/>
                <a:gd name="T7" fmla="*/ 1116465211 h 231"/>
                <a:gd name="T8" fmla="*/ 0 w 377"/>
                <a:gd name="T9" fmla="*/ 1075115438 h 231"/>
                <a:gd name="T10" fmla="*/ 331401658 w 377"/>
                <a:gd name="T11" fmla="*/ 1033765664 h 231"/>
                <a:gd name="T12" fmla="*/ 538529038 w 377"/>
                <a:gd name="T13" fmla="*/ 909713719 h 231"/>
                <a:gd name="T14" fmla="*/ 621379432 w 377"/>
                <a:gd name="T15" fmla="*/ 847687746 h 231"/>
                <a:gd name="T16" fmla="*/ 621379432 w 377"/>
                <a:gd name="T17" fmla="*/ 764985574 h 231"/>
                <a:gd name="T18" fmla="*/ 372828250 w 377"/>
                <a:gd name="T19" fmla="*/ 537557719 h 231"/>
                <a:gd name="T20" fmla="*/ 352114995 w 377"/>
                <a:gd name="T21" fmla="*/ 496207946 h 231"/>
                <a:gd name="T22" fmla="*/ 352114995 w 377"/>
                <a:gd name="T23" fmla="*/ 330803520 h 231"/>
                <a:gd name="T24" fmla="*/ 476389272 w 377"/>
                <a:gd name="T25" fmla="*/ 227427773 h 231"/>
                <a:gd name="T26" fmla="*/ 476389272 w 377"/>
                <a:gd name="T27" fmla="*/ 62025993 h 231"/>
                <a:gd name="T28" fmla="*/ 372828250 w 377"/>
                <a:gd name="T29" fmla="*/ 0 h 231"/>
                <a:gd name="T30" fmla="*/ 683516570 w 377"/>
                <a:gd name="T31" fmla="*/ 0 h 231"/>
                <a:gd name="T32" fmla="*/ 807793639 w 377"/>
                <a:gd name="T33" fmla="*/ 20676204 h 231"/>
                <a:gd name="T34" fmla="*/ 1097768704 w 377"/>
                <a:gd name="T35" fmla="*/ 206751574 h 231"/>
                <a:gd name="T36" fmla="*/ 1173716431 w 377"/>
                <a:gd name="T37" fmla="*/ 248103973 h 231"/>
                <a:gd name="T38" fmla="*/ 1567255474 w 377"/>
                <a:gd name="T39" fmla="*/ 248103973 h 231"/>
                <a:gd name="T40" fmla="*/ 1712243006 w 377"/>
                <a:gd name="T41" fmla="*/ 330803520 h 231"/>
                <a:gd name="T42" fmla="*/ 1815806655 w 377"/>
                <a:gd name="T43" fmla="*/ 454855547 h 231"/>
                <a:gd name="T44" fmla="*/ 2002220698 w 377"/>
                <a:gd name="T45" fmla="*/ 475531746 h 231"/>
                <a:gd name="T46" fmla="*/ 2147208231 w 377"/>
                <a:gd name="T47" fmla="*/ 537557719 h 231"/>
                <a:gd name="T48" fmla="*/ 2147483647 w 377"/>
                <a:gd name="T49" fmla="*/ 578907492 h 231"/>
                <a:gd name="T50" fmla="*/ 2147483647 w 377"/>
                <a:gd name="T51" fmla="*/ 661609664 h 231"/>
                <a:gd name="T52" fmla="*/ 2147483647 w 377"/>
                <a:gd name="T53" fmla="*/ 723635801 h 231"/>
                <a:gd name="T54" fmla="*/ 2147483647 w 377"/>
                <a:gd name="T55" fmla="*/ 847687746 h 231"/>
                <a:gd name="T56" fmla="*/ 2147483647 w 377"/>
                <a:gd name="T57" fmla="*/ 992413266 h 231"/>
                <a:gd name="T58" fmla="*/ 2147483647 w 377"/>
                <a:gd name="T59" fmla="*/ 1137141410 h 231"/>
                <a:gd name="T60" fmla="*/ 2147483647 w 377"/>
                <a:gd name="T61" fmla="*/ 1157814985 h 231"/>
                <a:gd name="T62" fmla="*/ 2147483647 w 377"/>
                <a:gd name="T63" fmla="*/ 1343892903 h 231"/>
                <a:gd name="T64" fmla="*/ 2126497603 w 377"/>
                <a:gd name="T65" fmla="*/ 1426595403 h 231"/>
                <a:gd name="T66" fmla="*/ 1919370304 w 377"/>
                <a:gd name="T67" fmla="*/ 1529971149 h 231"/>
                <a:gd name="T68" fmla="*/ 1877946421 w 377"/>
                <a:gd name="T69" fmla="*/ 1550647348 h 231"/>
                <a:gd name="T70" fmla="*/ 1774382772 w 377"/>
                <a:gd name="T71" fmla="*/ 1447268977 h 231"/>
                <a:gd name="T72" fmla="*/ 1546542218 w 377"/>
                <a:gd name="T73" fmla="*/ 1302543129 h 231"/>
                <a:gd name="T74" fmla="*/ 1422267941 w 377"/>
                <a:gd name="T75" fmla="*/ 1385245629 h 231"/>
                <a:gd name="T76" fmla="*/ 994205055 w 377"/>
                <a:gd name="T77" fmla="*/ 1199167383 h 231"/>
                <a:gd name="T78" fmla="*/ 787080384 w 377"/>
                <a:gd name="T79" fmla="*/ 1157814985 h 231"/>
                <a:gd name="T80" fmla="*/ 704229990 w 377"/>
                <a:gd name="T81" fmla="*/ 1302543129 h 231"/>
                <a:gd name="T82" fmla="*/ 683516570 w 377"/>
                <a:gd name="T83" fmla="*/ 1343892903 h 231"/>
                <a:gd name="T84" fmla="*/ 642092687 w 377"/>
                <a:gd name="T85" fmla="*/ 1343892903 h 231"/>
                <a:gd name="T86" fmla="*/ 352114995 w 377"/>
                <a:gd name="T87" fmla="*/ 1550647348 h 231"/>
                <a:gd name="T88" fmla="*/ 289977774 w 377"/>
                <a:gd name="T89" fmla="*/ 1591997121 h 23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77"/>
                <a:gd name="T136" fmla="*/ 0 h 231"/>
                <a:gd name="T137" fmla="*/ 377 w 377"/>
                <a:gd name="T138" fmla="*/ 231 h 23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77" h="231">
                  <a:moveTo>
                    <a:pt x="42" y="231"/>
                  </a:moveTo>
                  <a:cubicBezTo>
                    <a:pt x="33" y="213"/>
                    <a:pt x="15" y="201"/>
                    <a:pt x="3" y="189"/>
                  </a:cubicBezTo>
                  <a:cubicBezTo>
                    <a:pt x="0" y="180"/>
                    <a:pt x="3" y="180"/>
                    <a:pt x="3" y="174"/>
                  </a:cubicBezTo>
                  <a:cubicBezTo>
                    <a:pt x="3" y="171"/>
                    <a:pt x="3" y="168"/>
                    <a:pt x="6" y="162"/>
                  </a:cubicBezTo>
                  <a:cubicBezTo>
                    <a:pt x="3" y="159"/>
                    <a:pt x="3" y="156"/>
                    <a:pt x="0" y="156"/>
                  </a:cubicBezTo>
                  <a:cubicBezTo>
                    <a:pt x="9" y="147"/>
                    <a:pt x="36" y="150"/>
                    <a:pt x="48" y="150"/>
                  </a:cubicBezTo>
                  <a:cubicBezTo>
                    <a:pt x="60" y="147"/>
                    <a:pt x="69" y="141"/>
                    <a:pt x="78" y="132"/>
                  </a:cubicBezTo>
                  <a:cubicBezTo>
                    <a:pt x="81" y="129"/>
                    <a:pt x="87" y="126"/>
                    <a:pt x="90" y="123"/>
                  </a:cubicBezTo>
                  <a:cubicBezTo>
                    <a:pt x="90" y="117"/>
                    <a:pt x="90" y="114"/>
                    <a:pt x="90" y="111"/>
                  </a:cubicBezTo>
                  <a:cubicBezTo>
                    <a:pt x="81" y="93"/>
                    <a:pt x="66" y="84"/>
                    <a:pt x="54" y="78"/>
                  </a:cubicBezTo>
                  <a:cubicBezTo>
                    <a:pt x="54" y="75"/>
                    <a:pt x="51" y="72"/>
                    <a:pt x="51" y="72"/>
                  </a:cubicBezTo>
                  <a:cubicBezTo>
                    <a:pt x="51" y="63"/>
                    <a:pt x="51" y="54"/>
                    <a:pt x="51" y="48"/>
                  </a:cubicBezTo>
                  <a:cubicBezTo>
                    <a:pt x="57" y="42"/>
                    <a:pt x="60" y="36"/>
                    <a:pt x="69" y="33"/>
                  </a:cubicBezTo>
                  <a:cubicBezTo>
                    <a:pt x="81" y="27"/>
                    <a:pt x="72" y="15"/>
                    <a:pt x="69" y="9"/>
                  </a:cubicBezTo>
                  <a:cubicBezTo>
                    <a:pt x="63" y="6"/>
                    <a:pt x="57" y="3"/>
                    <a:pt x="54" y="0"/>
                  </a:cubicBezTo>
                  <a:cubicBezTo>
                    <a:pt x="69" y="0"/>
                    <a:pt x="84" y="0"/>
                    <a:pt x="99" y="0"/>
                  </a:cubicBezTo>
                  <a:cubicBezTo>
                    <a:pt x="105" y="0"/>
                    <a:pt x="111" y="0"/>
                    <a:pt x="117" y="3"/>
                  </a:cubicBezTo>
                  <a:cubicBezTo>
                    <a:pt x="123" y="12"/>
                    <a:pt x="141" y="27"/>
                    <a:pt x="159" y="30"/>
                  </a:cubicBezTo>
                  <a:cubicBezTo>
                    <a:pt x="162" y="33"/>
                    <a:pt x="164" y="33"/>
                    <a:pt x="170" y="36"/>
                  </a:cubicBezTo>
                  <a:cubicBezTo>
                    <a:pt x="188" y="36"/>
                    <a:pt x="209" y="36"/>
                    <a:pt x="227" y="36"/>
                  </a:cubicBezTo>
                  <a:cubicBezTo>
                    <a:pt x="236" y="42"/>
                    <a:pt x="242" y="45"/>
                    <a:pt x="248" y="48"/>
                  </a:cubicBezTo>
                  <a:cubicBezTo>
                    <a:pt x="248" y="54"/>
                    <a:pt x="254" y="60"/>
                    <a:pt x="263" y="66"/>
                  </a:cubicBezTo>
                  <a:cubicBezTo>
                    <a:pt x="272" y="69"/>
                    <a:pt x="281" y="69"/>
                    <a:pt x="290" y="69"/>
                  </a:cubicBezTo>
                  <a:cubicBezTo>
                    <a:pt x="296" y="72"/>
                    <a:pt x="302" y="75"/>
                    <a:pt x="311" y="78"/>
                  </a:cubicBezTo>
                  <a:cubicBezTo>
                    <a:pt x="311" y="81"/>
                    <a:pt x="323" y="78"/>
                    <a:pt x="335" y="84"/>
                  </a:cubicBezTo>
                  <a:cubicBezTo>
                    <a:pt x="335" y="87"/>
                    <a:pt x="335" y="90"/>
                    <a:pt x="341" y="96"/>
                  </a:cubicBezTo>
                  <a:cubicBezTo>
                    <a:pt x="344" y="96"/>
                    <a:pt x="359" y="96"/>
                    <a:pt x="359" y="105"/>
                  </a:cubicBezTo>
                  <a:cubicBezTo>
                    <a:pt x="353" y="114"/>
                    <a:pt x="353" y="111"/>
                    <a:pt x="353" y="123"/>
                  </a:cubicBezTo>
                  <a:cubicBezTo>
                    <a:pt x="353" y="129"/>
                    <a:pt x="362" y="132"/>
                    <a:pt x="365" y="144"/>
                  </a:cubicBezTo>
                  <a:cubicBezTo>
                    <a:pt x="365" y="150"/>
                    <a:pt x="365" y="159"/>
                    <a:pt x="377" y="165"/>
                  </a:cubicBezTo>
                  <a:cubicBezTo>
                    <a:pt x="377" y="165"/>
                    <a:pt x="377" y="165"/>
                    <a:pt x="377" y="168"/>
                  </a:cubicBezTo>
                  <a:cubicBezTo>
                    <a:pt x="350" y="171"/>
                    <a:pt x="344" y="180"/>
                    <a:pt x="320" y="195"/>
                  </a:cubicBezTo>
                  <a:cubicBezTo>
                    <a:pt x="314" y="198"/>
                    <a:pt x="311" y="201"/>
                    <a:pt x="308" y="207"/>
                  </a:cubicBezTo>
                  <a:cubicBezTo>
                    <a:pt x="293" y="213"/>
                    <a:pt x="287" y="207"/>
                    <a:pt x="278" y="222"/>
                  </a:cubicBezTo>
                  <a:cubicBezTo>
                    <a:pt x="275" y="222"/>
                    <a:pt x="275" y="222"/>
                    <a:pt x="272" y="225"/>
                  </a:cubicBezTo>
                  <a:cubicBezTo>
                    <a:pt x="266" y="219"/>
                    <a:pt x="263" y="213"/>
                    <a:pt x="257" y="210"/>
                  </a:cubicBezTo>
                  <a:cubicBezTo>
                    <a:pt x="239" y="207"/>
                    <a:pt x="233" y="195"/>
                    <a:pt x="224" y="189"/>
                  </a:cubicBezTo>
                  <a:cubicBezTo>
                    <a:pt x="212" y="189"/>
                    <a:pt x="212" y="192"/>
                    <a:pt x="206" y="201"/>
                  </a:cubicBezTo>
                  <a:cubicBezTo>
                    <a:pt x="179" y="201"/>
                    <a:pt x="159" y="183"/>
                    <a:pt x="144" y="174"/>
                  </a:cubicBezTo>
                  <a:cubicBezTo>
                    <a:pt x="132" y="174"/>
                    <a:pt x="123" y="171"/>
                    <a:pt x="114" y="168"/>
                  </a:cubicBezTo>
                  <a:cubicBezTo>
                    <a:pt x="93" y="168"/>
                    <a:pt x="87" y="171"/>
                    <a:pt x="102" y="189"/>
                  </a:cubicBezTo>
                  <a:cubicBezTo>
                    <a:pt x="102" y="192"/>
                    <a:pt x="102" y="192"/>
                    <a:pt x="99" y="195"/>
                  </a:cubicBezTo>
                  <a:cubicBezTo>
                    <a:pt x="96" y="195"/>
                    <a:pt x="93" y="195"/>
                    <a:pt x="93" y="195"/>
                  </a:cubicBezTo>
                  <a:cubicBezTo>
                    <a:pt x="66" y="195"/>
                    <a:pt x="60" y="204"/>
                    <a:pt x="51" y="225"/>
                  </a:cubicBezTo>
                  <a:cubicBezTo>
                    <a:pt x="45" y="228"/>
                    <a:pt x="45" y="231"/>
                    <a:pt x="42" y="231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6562363" y="2501905"/>
              <a:ext cx="571848" cy="344235"/>
            </a:xfrm>
            <a:custGeom>
              <a:avLst/>
              <a:gdLst>
                <a:gd name="T0" fmla="*/ 2147483647 w 978"/>
                <a:gd name="T1" fmla="*/ 2147483647 h 597"/>
                <a:gd name="T2" fmla="*/ 2147483647 w 978"/>
                <a:gd name="T3" fmla="*/ 2147483647 h 597"/>
                <a:gd name="T4" fmla="*/ 2147483647 w 978"/>
                <a:gd name="T5" fmla="*/ 2147483647 h 597"/>
                <a:gd name="T6" fmla="*/ 2147483647 w 978"/>
                <a:gd name="T7" fmla="*/ 2147483647 h 597"/>
                <a:gd name="T8" fmla="*/ 2147483647 w 978"/>
                <a:gd name="T9" fmla="*/ 2147483647 h 597"/>
                <a:gd name="T10" fmla="*/ 2147483647 w 978"/>
                <a:gd name="T11" fmla="*/ 2147483647 h 597"/>
                <a:gd name="T12" fmla="*/ 2147483647 w 978"/>
                <a:gd name="T13" fmla="*/ 2147483647 h 597"/>
                <a:gd name="T14" fmla="*/ 2147483647 w 978"/>
                <a:gd name="T15" fmla="*/ 2147483647 h 597"/>
                <a:gd name="T16" fmla="*/ 2147483647 w 978"/>
                <a:gd name="T17" fmla="*/ 2147483647 h 597"/>
                <a:gd name="T18" fmla="*/ 2147483647 w 978"/>
                <a:gd name="T19" fmla="*/ 2147483647 h 597"/>
                <a:gd name="T20" fmla="*/ 2147483647 w 978"/>
                <a:gd name="T21" fmla="*/ 2147483647 h 597"/>
                <a:gd name="T22" fmla="*/ 2103810132 w 978"/>
                <a:gd name="T23" fmla="*/ 2147483647 h 597"/>
                <a:gd name="T24" fmla="*/ 1958958822 w 978"/>
                <a:gd name="T25" fmla="*/ 2147483647 h 597"/>
                <a:gd name="T26" fmla="*/ 1689946619 w 978"/>
                <a:gd name="T27" fmla="*/ 2147483647 h 597"/>
                <a:gd name="T28" fmla="*/ 1503706593 w 978"/>
                <a:gd name="T29" fmla="*/ 2147483647 h 597"/>
                <a:gd name="T30" fmla="*/ 1276082777 w 978"/>
                <a:gd name="T31" fmla="*/ 2147483647 h 597"/>
                <a:gd name="T32" fmla="*/ 1013967380 w 978"/>
                <a:gd name="T33" fmla="*/ 2112097683 h 597"/>
                <a:gd name="T34" fmla="*/ 786341266 w 978"/>
                <a:gd name="T35" fmla="*/ 2147483647 h 597"/>
                <a:gd name="T36" fmla="*/ 538024570 w 978"/>
                <a:gd name="T37" fmla="*/ 1905030841 h 597"/>
                <a:gd name="T38" fmla="*/ 82772198 w 978"/>
                <a:gd name="T39" fmla="*/ 1573720215 h 597"/>
                <a:gd name="T40" fmla="*/ 124158307 w 978"/>
                <a:gd name="T41" fmla="*/ 1345945310 h 597"/>
                <a:gd name="T42" fmla="*/ 165547022 w 978"/>
                <a:gd name="T43" fmla="*/ 973221842 h 597"/>
                <a:gd name="T44" fmla="*/ 372477589 w 978"/>
                <a:gd name="T45" fmla="*/ 1076755263 h 597"/>
                <a:gd name="T46" fmla="*/ 393170633 w 978"/>
                <a:gd name="T47" fmla="*/ 745447265 h 597"/>
                <a:gd name="T48" fmla="*/ 372477589 w 978"/>
                <a:gd name="T49" fmla="*/ 352015897 h 597"/>
                <a:gd name="T50" fmla="*/ 558717614 w 978"/>
                <a:gd name="T51" fmla="*/ 352015897 h 597"/>
                <a:gd name="T52" fmla="*/ 786341266 w 978"/>
                <a:gd name="T53" fmla="*/ 248482394 h 597"/>
                <a:gd name="T54" fmla="*/ 1096739558 w 978"/>
                <a:gd name="T55" fmla="*/ 20707740 h 597"/>
                <a:gd name="T56" fmla="*/ 1420934416 w 978"/>
                <a:gd name="T57" fmla="*/ 144948932 h 597"/>
                <a:gd name="T58" fmla="*/ 1752025752 w 978"/>
                <a:gd name="T59" fmla="*/ 82828334 h 597"/>
                <a:gd name="T60" fmla="*/ 1979651866 w 978"/>
                <a:gd name="T61" fmla="*/ 289895237 h 597"/>
                <a:gd name="T62" fmla="*/ 2147483647 w 978"/>
                <a:gd name="T63" fmla="*/ 227774659 h 597"/>
                <a:gd name="T64" fmla="*/ 2147483647 w 978"/>
                <a:gd name="T65" fmla="*/ 248482394 h 597"/>
                <a:gd name="T66" fmla="*/ 2147483647 w 978"/>
                <a:gd name="T67" fmla="*/ 103533462 h 597"/>
                <a:gd name="T68" fmla="*/ 2147483647 w 978"/>
                <a:gd name="T69" fmla="*/ 124241197 h 597"/>
                <a:gd name="T70" fmla="*/ 2147483647 w 978"/>
                <a:gd name="T71" fmla="*/ 310602972 h 597"/>
                <a:gd name="T72" fmla="*/ 2147483647 w 978"/>
                <a:gd name="T73" fmla="*/ 641911052 h 597"/>
                <a:gd name="T74" fmla="*/ 2147483647 w 978"/>
                <a:gd name="T75" fmla="*/ 1428771324 h 597"/>
                <a:gd name="T76" fmla="*/ 2147483647 w 978"/>
                <a:gd name="T77" fmla="*/ 1553012480 h 597"/>
                <a:gd name="T78" fmla="*/ 2147483647 w 978"/>
                <a:gd name="T79" fmla="*/ 1905030841 h 597"/>
                <a:gd name="T80" fmla="*/ 2147483647 w 978"/>
                <a:gd name="T81" fmla="*/ 1925735949 h 597"/>
                <a:gd name="T82" fmla="*/ 2147483647 w 978"/>
                <a:gd name="T83" fmla="*/ 2147483647 h 597"/>
                <a:gd name="T84" fmla="*/ 2147483647 w 978"/>
                <a:gd name="T85" fmla="*/ 2147483647 h 597"/>
                <a:gd name="T86" fmla="*/ 2147483647 w 978"/>
                <a:gd name="T87" fmla="*/ 2147483647 h 597"/>
                <a:gd name="T88" fmla="*/ 2147483647 w 978"/>
                <a:gd name="T89" fmla="*/ 2147483647 h 597"/>
                <a:gd name="T90" fmla="*/ 2147483647 w 978"/>
                <a:gd name="T91" fmla="*/ 2091389948 h 597"/>
                <a:gd name="T92" fmla="*/ 2147483647 w 978"/>
                <a:gd name="T93" fmla="*/ 2147483647 h 597"/>
                <a:gd name="T94" fmla="*/ 2147483647 w 978"/>
                <a:gd name="T95" fmla="*/ 2147483647 h 597"/>
                <a:gd name="T96" fmla="*/ 2147483647 w 978"/>
                <a:gd name="T97" fmla="*/ 2147483647 h 597"/>
                <a:gd name="T98" fmla="*/ 2147483647 w 978"/>
                <a:gd name="T99" fmla="*/ 2147483647 h 597"/>
                <a:gd name="T100" fmla="*/ 2147483647 w 978"/>
                <a:gd name="T101" fmla="*/ 2147483647 h 597"/>
                <a:gd name="T102" fmla="*/ 2147483647 w 978"/>
                <a:gd name="T103" fmla="*/ 2147483647 h 597"/>
                <a:gd name="T104" fmla="*/ 2147483647 w 978"/>
                <a:gd name="T105" fmla="*/ 2147483647 h 597"/>
                <a:gd name="T106" fmla="*/ 2147483647 w 978"/>
                <a:gd name="T107" fmla="*/ 2147483647 h 597"/>
                <a:gd name="T108" fmla="*/ 2147483647 w 978"/>
                <a:gd name="T109" fmla="*/ 2147483647 h 597"/>
                <a:gd name="T110" fmla="*/ 2147483647 w 978"/>
                <a:gd name="T111" fmla="*/ 2147483647 h 597"/>
                <a:gd name="T112" fmla="*/ 2147483647 w 978"/>
                <a:gd name="T113" fmla="*/ 2147483647 h 597"/>
                <a:gd name="T114" fmla="*/ 2147483647 w 978"/>
                <a:gd name="T115" fmla="*/ 2147483647 h 597"/>
                <a:gd name="T116" fmla="*/ 2147483647 w 978"/>
                <a:gd name="T117" fmla="*/ 2147483647 h 59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8"/>
                <a:gd name="T178" fmla="*/ 0 h 597"/>
                <a:gd name="T179" fmla="*/ 978 w 978"/>
                <a:gd name="T180" fmla="*/ 597 h 59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8" h="597">
                  <a:moveTo>
                    <a:pt x="676" y="597"/>
                  </a:moveTo>
                  <a:cubicBezTo>
                    <a:pt x="670" y="591"/>
                    <a:pt x="637" y="594"/>
                    <a:pt x="634" y="594"/>
                  </a:cubicBezTo>
                  <a:cubicBezTo>
                    <a:pt x="631" y="594"/>
                    <a:pt x="628" y="594"/>
                    <a:pt x="628" y="597"/>
                  </a:cubicBezTo>
                  <a:cubicBezTo>
                    <a:pt x="598" y="594"/>
                    <a:pt x="613" y="582"/>
                    <a:pt x="619" y="567"/>
                  </a:cubicBezTo>
                  <a:cubicBezTo>
                    <a:pt x="619" y="564"/>
                    <a:pt x="619" y="561"/>
                    <a:pt x="619" y="558"/>
                  </a:cubicBezTo>
                  <a:cubicBezTo>
                    <a:pt x="598" y="552"/>
                    <a:pt x="601" y="546"/>
                    <a:pt x="598" y="534"/>
                  </a:cubicBezTo>
                  <a:cubicBezTo>
                    <a:pt x="595" y="534"/>
                    <a:pt x="595" y="531"/>
                    <a:pt x="595" y="531"/>
                  </a:cubicBezTo>
                  <a:cubicBezTo>
                    <a:pt x="583" y="531"/>
                    <a:pt x="577" y="528"/>
                    <a:pt x="568" y="528"/>
                  </a:cubicBezTo>
                  <a:cubicBezTo>
                    <a:pt x="565" y="522"/>
                    <a:pt x="562" y="519"/>
                    <a:pt x="559" y="516"/>
                  </a:cubicBezTo>
                  <a:cubicBezTo>
                    <a:pt x="547" y="510"/>
                    <a:pt x="535" y="504"/>
                    <a:pt x="529" y="501"/>
                  </a:cubicBezTo>
                  <a:cubicBezTo>
                    <a:pt x="526" y="498"/>
                    <a:pt x="526" y="498"/>
                    <a:pt x="523" y="498"/>
                  </a:cubicBezTo>
                  <a:cubicBezTo>
                    <a:pt x="517" y="498"/>
                    <a:pt x="511" y="498"/>
                    <a:pt x="505" y="498"/>
                  </a:cubicBezTo>
                  <a:cubicBezTo>
                    <a:pt x="496" y="504"/>
                    <a:pt x="493" y="510"/>
                    <a:pt x="484" y="516"/>
                  </a:cubicBezTo>
                  <a:cubicBezTo>
                    <a:pt x="481" y="516"/>
                    <a:pt x="478" y="519"/>
                    <a:pt x="475" y="522"/>
                  </a:cubicBezTo>
                  <a:cubicBezTo>
                    <a:pt x="475" y="525"/>
                    <a:pt x="472" y="525"/>
                    <a:pt x="472" y="528"/>
                  </a:cubicBezTo>
                  <a:cubicBezTo>
                    <a:pt x="472" y="534"/>
                    <a:pt x="469" y="543"/>
                    <a:pt x="469" y="549"/>
                  </a:cubicBezTo>
                  <a:cubicBezTo>
                    <a:pt x="446" y="546"/>
                    <a:pt x="451" y="525"/>
                    <a:pt x="457" y="510"/>
                  </a:cubicBezTo>
                  <a:cubicBezTo>
                    <a:pt x="457" y="507"/>
                    <a:pt x="457" y="504"/>
                    <a:pt x="457" y="504"/>
                  </a:cubicBezTo>
                  <a:cubicBezTo>
                    <a:pt x="448" y="495"/>
                    <a:pt x="448" y="498"/>
                    <a:pt x="440" y="495"/>
                  </a:cubicBezTo>
                  <a:cubicBezTo>
                    <a:pt x="419" y="501"/>
                    <a:pt x="410" y="501"/>
                    <a:pt x="395" y="510"/>
                  </a:cubicBezTo>
                  <a:cubicBezTo>
                    <a:pt x="380" y="510"/>
                    <a:pt x="374" y="498"/>
                    <a:pt x="371" y="492"/>
                  </a:cubicBezTo>
                  <a:cubicBezTo>
                    <a:pt x="368" y="489"/>
                    <a:pt x="365" y="486"/>
                    <a:pt x="362" y="483"/>
                  </a:cubicBezTo>
                  <a:cubicBezTo>
                    <a:pt x="350" y="483"/>
                    <a:pt x="335" y="483"/>
                    <a:pt x="323" y="483"/>
                  </a:cubicBezTo>
                  <a:cubicBezTo>
                    <a:pt x="311" y="477"/>
                    <a:pt x="311" y="462"/>
                    <a:pt x="305" y="456"/>
                  </a:cubicBezTo>
                  <a:cubicBezTo>
                    <a:pt x="296" y="453"/>
                    <a:pt x="296" y="453"/>
                    <a:pt x="293" y="447"/>
                  </a:cubicBezTo>
                  <a:cubicBezTo>
                    <a:pt x="290" y="444"/>
                    <a:pt x="287" y="441"/>
                    <a:pt x="284" y="438"/>
                  </a:cubicBezTo>
                  <a:cubicBezTo>
                    <a:pt x="275" y="435"/>
                    <a:pt x="269" y="435"/>
                    <a:pt x="263" y="432"/>
                  </a:cubicBezTo>
                  <a:cubicBezTo>
                    <a:pt x="242" y="414"/>
                    <a:pt x="248" y="411"/>
                    <a:pt x="245" y="393"/>
                  </a:cubicBezTo>
                  <a:cubicBezTo>
                    <a:pt x="242" y="390"/>
                    <a:pt x="242" y="387"/>
                    <a:pt x="239" y="384"/>
                  </a:cubicBezTo>
                  <a:cubicBezTo>
                    <a:pt x="233" y="384"/>
                    <a:pt x="224" y="384"/>
                    <a:pt x="218" y="384"/>
                  </a:cubicBezTo>
                  <a:cubicBezTo>
                    <a:pt x="200" y="378"/>
                    <a:pt x="203" y="372"/>
                    <a:pt x="200" y="363"/>
                  </a:cubicBezTo>
                  <a:cubicBezTo>
                    <a:pt x="194" y="357"/>
                    <a:pt x="188" y="354"/>
                    <a:pt x="185" y="351"/>
                  </a:cubicBezTo>
                  <a:cubicBezTo>
                    <a:pt x="176" y="345"/>
                    <a:pt x="170" y="339"/>
                    <a:pt x="164" y="333"/>
                  </a:cubicBezTo>
                  <a:cubicBezTo>
                    <a:pt x="159" y="324"/>
                    <a:pt x="153" y="315"/>
                    <a:pt x="147" y="306"/>
                  </a:cubicBezTo>
                  <a:cubicBezTo>
                    <a:pt x="138" y="306"/>
                    <a:pt x="135" y="306"/>
                    <a:pt x="129" y="309"/>
                  </a:cubicBezTo>
                  <a:cubicBezTo>
                    <a:pt x="123" y="309"/>
                    <a:pt x="120" y="312"/>
                    <a:pt x="114" y="315"/>
                  </a:cubicBezTo>
                  <a:cubicBezTo>
                    <a:pt x="108" y="315"/>
                    <a:pt x="102" y="315"/>
                    <a:pt x="96" y="315"/>
                  </a:cubicBezTo>
                  <a:cubicBezTo>
                    <a:pt x="81" y="303"/>
                    <a:pt x="78" y="288"/>
                    <a:pt x="78" y="276"/>
                  </a:cubicBezTo>
                  <a:cubicBezTo>
                    <a:pt x="72" y="270"/>
                    <a:pt x="66" y="261"/>
                    <a:pt x="63" y="252"/>
                  </a:cubicBezTo>
                  <a:cubicBezTo>
                    <a:pt x="48" y="237"/>
                    <a:pt x="27" y="231"/>
                    <a:pt x="12" y="228"/>
                  </a:cubicBezTo>
                  <a:cubicBezTo>
                    <a:pt x="0" y="219"/>
                    <a:pt x="6" y="213"/>
                    <a:pt x="9" y="207"/>
                  </a:cubicBezTo>
                  <a:cubicBezTo>
                    <a:pt x="15" y="204"/>
                    <a:pt x="18" y="195"/>
                    <a:pt x="18" y="195"/>
                  </a:cubicBezTo>
                  <a:cubicBezTo>
                    <a:pt x="18" y="183"/>
                    <a:pt x="18" y="171"/>
                    <a:pt x="18" y="159"/>
                  </a:cubicBezTo>
                  <a:cubicBezTo>
                    <a:pt x="12" y="141"/>
                    <a:pt x="9" y="141"/>
                    <a:pt x="24" y="141"/>
                  </a:cubicBezTo>
                  <a:cubicBezTo>
                    <a:pt x="27" y="141"/>
                    <a:pt x="27" y="144"/>
                    <a:pt x="30" y="144"/>
                  </a:cubicBezTo>
                  <a:cubicBezTo>
                    <a:pt x="33" y="150"/>
                    <a:pt x="42" y="171"/>
                    <a:pt x="54" y="156"/>
                  </a:cubicBezTo>
                  <a:cubicBezTo>
                    <a:pt x="54" y="150"/>
                    <a:pt x="57" y="144"/>
                    <a:pt x="57" y="141"/>
                  </a:cubicBezTo>
                  <a:cubicBezTo>
                    <a:pt x="57" y="129"/>
                    <a:pt x="57" y="120"/>
                    <a:pt x="57" y="108"/>
                  </a:cubicBezTo>
                  <a:cubicBezTo>
                    <a:pt x="51" y="99"/>
                    <a:pt x="48" y="93"/>
                    <a:pt x="45" y="84"/>
                  </a:cubicBezTo>
                  <a:cubicBezTo>
                    <a:pt x="42" y="66"/>
                    <a:pt x="45" y="57"/>
                    <a:pt x="54" y="51"/>
                  </a:cubicBezTo>
                  <a:cubicBezTo>
                    <a:pt x="57" y="48"/>
                    <a:pt x="57" y="45"/>
                    <a:pt x="60" y="42"/>
                  </a:cubicBezTo>
                  <a:cubicBezTo>
                    <a:pt x="66" y="45"/>
                    <a:pt x="72" y="48"/>
                    <a:pt x="81" y="51"/>
                  </a:cubicBezTo>
                  <a:cubicBezTo>
                    <a:pt x="84" y="51"/>
                    <a:pt x="90" y="51"/>
                    <a:pt x="99" y="51"/>
                  </a:cubicBezTo>
                  <a:cubicBezTo>
                    <a:pt x="102" y="45"/>
                    <a:pt x="108" y="42"/>
                    <a:pt x="114" y="36"/>
                  </a:cubicBezTo>
                  <a:cubicBezTo>
                    <a:pt x="120" y="18"/>
                    <a:pt x="126" y="9"/>
                    <a:pt x="144" y="0"/>
                  </a:cubicBezTo>
                  <a:cubicBezTo>
                    <a:pt x="150" y="0"/>
                    <a:pt x="150" y="0"/>
                    <a:pt x="159" y="3"/>
                  </a:cubicBezTo>
                  <a:cubicBezTo>
                    <a:pt x="164" y="9"/>
                    <a:pt x="173" y="12"/>
                    <a:pt x="182" y="18"/>
                  </a:cubicBezTo>
                  <a:cubicBezTo>
                    <a:pt x="182" y="30"/>
                    <a:pt x="197" y="24"/>
                    <a:pt x="206" y="21"/>
                  </a:cubicBezTo>
                  <a:cubicBezTo>
                    <a:pt x="212" y="21"/>
                    <a:pt x="218" y="18"/>
                    <a:pt x="224" y="18"/>
                  </a:cubicBezTo>
                  <a:cubicBezTo>
                    <a:pt x="236" y="6"/>
                    <a:pt x="236" y="0"/>
                    <a:pt x="254" y="12"/>
                  </a:cubicBezTo>
                  <a:cubicBezTo>
                    <a:pt x="254" y="27"/>
                    <a:pt x="254" y="24"/>
                    <a:pt x="269" y="36"/>
                  </a:cubicBezTo>
                  <a:cubicBezTo>
                    <a:pt x="275" y="36"/>
                    <a:pt x="281" y="39"/>
                    <a:pt x="287" y="42"/>
                  </a:cubicBezTo>
                  <a:cubicBezTo>
                    <a:pt x="293" y="42"/>
                    <a:pt x="296" y="42"/>
                    <a:pt x="302" y="42"/>
                  </a:cubicBezTo>
                  <a:cubicBezTo>
                    <a:pt x="311" y="39"/>
                    <a:pt x="320" y="33"/>
                    <a:pt x="335" y="33"/>
                  </a:cubicBezTo>
                  <a:cubicBezTo>
                    <a:pt x="353" y="27"/>
                    <a:pt x="350" y="24"/>
                    <a:pt x="371" y="33"/>
                  </a:cubicBezTo>
                  <a:cubicBezTo>
                    <a:pt x="380" y="33"/>
                    <a:pt x="386" y="33"/>
                    <a:pt x="392" y="36"/>
                  </a:cubicBezTo>
                  <a:cubicBezTo>
                    <a:pt x="401" y="30"/>
                    <a:pt x="398" y="24"/>
                    <a:pt x="407" y="21"/>
                  </a:cubicBezTo>
                  <a:cubicBezTo>
                    <a:pt x="422" y="9"/>
                    <a:pt x="431" y="3"/>
                    <a:pt x="454" y="15"/>
                  </a:cubicBezTo>
                  <a:cubicBezTo>
                    <a:pt x="469" y="15"/>
                    <a:pt x="493" y="12"/>
                    <a:pt x="514" y="12"/>
                  </a:cubicBezTo>
                  <a:cubicBezTo>
                    <a:pt x="517" y="15"/>
                    <a:pt x="523" y="18"/>
                    <a:pt x="526" y="18"/>
                  </a:cubicBezTo>
                  <a:cubicBezTo>
                    <a:pt x="532" y="24"/>
                    <a:pt x="538" y="30"/>
                    <a:pt x="547" y="33"/>
                  </a:cubicBezTo>
                  <a:cubicBezTo>
                    <a:pt x="547" y="36"/>
                    <a:pt x="547" y="42"/>
                    <a:pt x="547" y="45"/>
                  </a:cubicBezTo>
                  <a:cubicBezTo>
                    <a:pt x="553" y="51"/>
                    <a:pt x="565" y="60"/>
                    <a:pt x="559" y="75"/>
                  </a:cubicBezTo>
                  <a:cubicBezTo>
                    <a:pt x="556" y="81"/>
                    <a:pt x="553" y="87"/>
                    <a:pt x="550" y="93"/>
                  </a:cubicBezTo>
                  <a:cubicBezTo>
                    <a:pt x="550" y="99"/>
                    <a:pt x="550" y="105"/>
                    <a:pt x="550" y="111"/>
                  </a:cubicBezTo>
                  <a:cubicBezTo>
                    <a:pt x="553" y="144"/>
                    <a:pt x="547" y="177"/>
                    <a:pt x="577" y="207"/>
                  </a:cubicBezTo>
                  <a:cubicBezTo>
                    <a:pt x="580" y="210"/>
                    <a:pt x="592" y="216"/>
                    <a:pt x="601" y="219"/>
                  </a:cubicBezTo>
                  <a:cubicBezTo>
                    <a:pt x="607" y="222"/>
                    <a:pt x="616" y="222"/>
                    <a:pt x="622" y="225"/>
                  </a:cubicBezTo>
                  <a:cubicBezTo>
                    <a:pt x="634" y="243"/>
                    <a:pt x="649" y="252"/>
                    <a:pt x="676" y="255"/>
                  </a:cubicBezTo>
                  <a:cubicBezTo>
                    <a:pt x="688" y="264"/>
                    <a:pt x="694" y="273"/>
                    <a:pt x="715" y="276"/>
                  </a:cubicBezTo>
                  <a:cubicBezTo>
                    <a:pt x="733" y="273"/>
                    <a:pt x="750" y="273"/>
                    <a:pt x="768" y="273"/>
                  </a:cubicBezTo>
                  <a:cubicBezTo>
                    <a:pt x="771" y="276"/>
                    <a:pt x="774" y="276"/>
                    <a:pt x="780" y="279"/>
                  </a:cubicBezTo>
                  <a:cubicBezTo>
                    <a:pt x="783" y="282"/>
                    <a:pt x="789" y="285"/>
                    <a:pt x="795" y="288"/>
                  </a:cubicBezTo>
                  <a:cubicBezTo>
                    <a:pt x="798" y="297"/>
                    <a:pt x="804" y="303"/>
                    <a:pt x="807" y="312"/>
                  </a:cubicBezTo>
                  <a:cubicBezTo>
                    <a:pt x="810" y="327"/>
                    <a:pt x="810" y="327"/>
                    <a:pt x="825" y="342"/>
                  </a:cubicBezTo>
                  <a:cubicBezTo>
                    <a:pt x="828" y="342"/>
                    <a:pt x="834" y="342"/>
                    <a:pt x="837" y="342"/>
                  </a:cubicBezTo>
                  <a:cubicBezTo>
                    <a:pt x="837" y="339"/>
                    <a:pt x="840" y="336"/>
                    <a:pt x="843" y="333"/>
                  </a:cubicBezTo>
                  <a:cubicBezTo>
                    <a:pt x="846" y="333"/>
                    <a:pt x="849" y="330"/>
                    <a:pt x="852" y="330"/>
                  </a:cubicBezTo>
                  <a:cubicBezTo>
                    <a:pt x="852" y="336"/>
                    <a:pt x="858" y="342"/>
                    <a:pt x="867" y="342"/>
                  </a:cubicBezTo>
                  <a:cubicBezTo>
                    <a:pt x="873" y="339"/>
                    <a:pt x="879" y="333"/>
                    <a:pt x="885" y="330"/>
                  </a:cubicBezTo>
                  <a:cubicBezTo>
                    <a:pt x="891" y="321"/>
                    <a:pt x="897" y="309"/>
                    <a:pt x="906" y="303"/>
                  </a:cubicBezTo>
                  <a:cubicBezTo>
                    <a:pt x="906" y="303"/>
                    <a:pt x="906" y="303"/>
                    <a:pt x="909" y="303"/>
                  </a:cubicBezTo>
                  <a:cubicBezTo>
                    <a:pt x="909" y="306"/>
                    <a:pt x="918" y="312"/>
                    <a:pt x="927" y="318"/>
                  </a:cubicBezTo>
                  <a:cubicBezTo>
                    <a:pt x="930" y="330"/>
                    <a:pt x="942" y="345"/>
                    <a:pt x="957" y="360"/>
                  </a:cubicBezTo>
                  <a:cubicBezTo>
                    <a:pt x="960" y="372"/>
                    <a:pt x="963" y="384"/>
                    <a:pt x="966" y="393"/>
                  </a:cubicBezTo>
                  <a:cubicBezTo>
                    <a:pt x="972" y="402"/>
                    <a:pt x="978" y="411"/>
                    <a:pt x="978" y="426"/>
                  </a:cubicBezTo>
                  <a:cubicBezTo>
                    <a:pt x="966" y="441"/>
                    <a:pt x="966" y="438"/>
                    <a:pt x="966" y="459"/>
                  </a:cubicBezTo>
                  <a:cubicBezTo>
                    <a:pt x="969" y="468"/>
                    <a:pt x="978" y="480"/>
                    <a:pt x="972" y="495"/>
                  </a:cubicBezTo>
                  <a:cubicBezTo>
                    <a:pt x="972" y="498"/>
                    <a:pt x="972" y="501"/>
                    <a:pt x="972" y="504"/>
                  </a:cubicBezTo>
                  <a:cubicBezTo>
                    <a:pt x="969" y="504"/>
                    <a:pt x="969" y="504"/>
                    <a:pt x="969" y="504"/>
                  </a:cubicBezTo>
                  <a:cubicBezTo>
                    <a:pt x="969" y="501"/>
                    <a:pt x="963" y="498"/>
                    <a:pt x="960" y="495"/>
                  </a:cubicBezTo>
                  <a:cubicBezTo>
                    <a:pt x="948" y="495"/>
                    <a:pt x="945" y="498"/>
                    <a:pt x="939" y="504"/>
                  </a:cubicBezTo>
                  <a:cubicBezTo>
                    <a:pt x="939" y="510"/>
                    <a:pt x="942" y="519"/>
                    <a:pt x="945" y="534"/>
                  </a:cubicBezTo>
                  <a:cubicBezTo>
                    <a:pt x="945" y="537"/>
                    <a:pt x="942" y="543"/>
                    <a:pt x="942" y="546"/>
                  </a:cubicBezTo>
                  <a:cubicBezTo>
                    <a:pt x="942" y="546"/>
                    <a:pt x="939" y="549"/>
                    <a:pt x="936" y="549"/>
                  </a:cubicBezTo>
                  <a:cubicBezTo>
                    <a:pt x="933" y="549"/>
                    <a:pt x="927" y="549"/>
                    <a:pt x="924" y="549"/>
                  </a:cubicBezTo>
                  <a:cubicBezTo>
                    <a:pt x="918" y="540"/>
                    <a:pt x="912" y="534"/>
                    <a:pt x="909" y="528"/>
                  </a:cubicBezTo>
                  <a:cubicBezTo>
                    <a:pt x="888" y="519"/>
                    <a:pt x="876" y="534"/>
                    <a:pt x="879" y="555"/>
                  </a:cubicBezTo>
                  <a:cubicBezTo>
                    <a:pt x="879" y="558"/>
                    <a:pt x="876" y="558"/>
                    <a:pt x="876" y="561"/>
                  </a:cubicBezTo>
                  <a:cubicBezTo>
                    <a:pt x="867" y="561"/>
                    <a:pt x="855" y="558"/>
                    <a:pt x="855" y="555"/>
                  </a:cubicBezTo>
                  <a:cubicBezTo>
                    <a:pt x="852" y="549"/>
                    <a:pt x="852" y="546"/>
                    <a:pt x="852" y="543"/>
                  </a:cubicBezTo>
                  <a:cubicBezTo>
                    <a:pt x="837" y="537"/>
                    <a:pt x="828" y="534"/>
                    <a:pt x="819" y="531"/>
                  </a:cubicBezTo>
                  <a:cubicBezTo>
                    <a:pt x="816" y="528"/>
                    <a:pt x="816" y="525"/>
                    <a:pt x="813" y="522"/>
                  </a:cubicBezTo>
                  <a:cubicBezTo>
                    <a:pt x="795" y="522"/>
                    <a:pt x="798" y="525"/>
                    <a:pt x="786" y="537"/>
                  </a:cubicBezTo>
                  <a:cubicBezTo>
                    <a:pt x="777" y="540"/>
                    <a:pt x="771" y="543"/>
                    <a:pt x="765" y="549"/>
                  </a:cubicBezTo>
                  <a:cubicBezTo>
                    <a:pt x="747" y="552"/>
                    <a:pt x="750" y="552"/>
                    <a:pt x="741" y="567"/>
                  </a:cubicBezTo>
                  <a:cubicBezTo>
                    <a:pt x="721" y="570"/>
                    <a:pt x="721" y="570"/>
                    <a:pt x="709" y="585"/>
                  </a:cubicBezTo>
                  <a:cubicBezTo>
                    <a:pt x="706" y="588"/>
                    <a:pt x="706" y="588"/>
                    <a:pt x="703" y="591"/>
                  </a:cubicBezTo>
                  <a:cubicBezTo>
                    <a:pt x="691" y="591"/>
                    <a:pt x="685" y="594"/>
                    <a:pt x="676" y="597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3" name="Freeform 19"/>
            <p:cNvSpPr>
              <a:spLocks/>
            </p:cNvSpPr>
            <p:nvPr/>
          </p:nvSpPr>
          <p:spPr bwMode="auto">
            <a:xfrm>
              <a:off x="7092153" y="2617927"/>
              <a:ext cx="284510" cy="278384"/>
            </a:xfrm>
            <a:custGeom>
              <a:avLst/>
              <a:gdLst>
                <a:gd name="T0" fmla="*/ 1459814846 w 487"/>
                <a:gd name="T1" fmla="*/ 2147483647 h 483"/>
                <a:gd name="T2" fmla="*/ 1232577780 w 487"/>
                <a:gd name="T3" fmla="*/ 2147483647 h 483"/>
                <a:gd name="T4" fmla="*/ 1211920849 w 487"/>
                <a:gd name="T5" fmla="*/ 2147483647 h 483"/>
                <a:gd name="T6" fmla="*/ 922713318 w 487"/>
                <a:gd name="T7" fmla="*/ 2147483647 h 483"/>
                <a:gd name="T8" fmla="*/ 784995197 w 487"/>
                <a:gd name="T9" fmla="*/ 2147483647 h 483"/>
                <a:gd name="T10" fmla="*/ 681705129 w 487"/>
                <a:gd name="T11" fmla="*/ 2131008435 h 483"/>
                <a:gd name="T12" fmla="*/ 516444433 w 487"/>
                <a:gd name="T13" fmla="*/ 2147483647 h 483"/>
                <a:gd name="T14" fmla="*/ 495784878 w 487"/>
                <a:gd name="T15" fmla="*/ 2027560665 h 483"/>
                <a:gd name="T16" fmla="*/ 454471016 w 487"/>
                <a:gd name="T17" fmla="*/ 1655151845 h 483"/>
                <a:gd name="T18" fmla="*/ 516444433 w 487"/>
                <a:gd name="T19" fmla="*/ 1406879298 h 483"/>
                <a:gd name="T20" fmla="*/ 371840667 w 487"/>
                <a:gd name="T21" fmla="*/ 1075847156 h 483"/>
                <a:gd name="T22" fmla="*/ 61973438 w 487"/>
                <a:gd name="T23" fmla="*/ 682749668 h 483"/>
                <a:gd name="T24" fmla="*/ 20656936 w 487"/>
                <a:gd name="T25" fmla="*/ 662061165 h 483"/>
                <a:gd name="T26" fmla="*/ 103289944 w 487"/>
                <a:gd name="T27" fmla="*/ 331029269 h 483"/>
                <a:gd name="T28" fmla="*/ 20656936 w 487"/>
                <a:gd name="T29" fmla="*/ 144824818 h 483"/>
                <a:gd name="T30" fmla="*/ 392497598 w 487"/>
                <a:gd name="T31" fmla="*/ 268961133 h 483"/>
                <a:gd name="T32" fmla="*/ 702362224 w 487"/>
                <a:gd name="T33" fmla="*/ 641370035 h 483"/>
                <a:gd name="T34" fmla="*/ 840082970 w 487"/>
                <a:gd name="T35" fmla="*/ 579301898 h 483"/>
                <a:gd name="T36" fmla="*/ 984686736 w 487"/>
                <a:gd name="T37" fmla="*/ 662061165 h 483"/>
                <a:gd name="T38" fmla="*/ 1087974015 w 487"/>
                <a:gd name="T39" fmla="*/ 703438336 h 483"/>
                <a:gd name="T40" fmla="*/ 1294551198 w 487"/>
                <a:gd name="T41" fmla="*/ 620681531 h 483"/>
                <a:gd name="T42" fmla="*/ 1294551198 w 487"/>
                <a:gd name="T43" fmla="*/ 268961133 h 483"/>
                <a:gd name="T44" fmla="*/ 1439155291 w 487"/>
                <a:gd name="T45" fmla="*/ 393097488 h 483"/>
                <a:gd name="T46" fmla="*/ 1666392029 w 487"/>
                <a:gd name="T47" fmla="*/ 331029269 h 483"/>
                <a:gd name="T48" fmla="*/ 1810995794 w 487"/>
                <a:gd name="T49" fmla="*/ 62068157 h 483"/>
                <a:gd name="T50" fmla="*/ 2038232532 w 487"/>
                <a:gd name="T51" fmla="*/ 248272629 h 483"/>
                <a:gd name="T52" fmla="*/ 2147483647 w 487"/>
                <a:gd name="T53" fmla="*/ 517233762 h 483"/>
                <a:gd name="T54" fmla="*/ 2147483647 w 487"/>
                <a:gd name="T55" fmla="*/ 682749668 h 483"/>
                <a:gd name="T56" fmla="*/ 2147483647 w 487"/>
                <a:gd name="T57" fmla="*/ 682749668 h 483"/>
                <a:gd name="T58" fmla="*/ 2147483647 w 487"/>
                <a:gd name="T59" fmla="*/ 765506473 h 483"/>
                <a:gd name="T60" fmla="*/ 2147483647 w 487"/>
                <a:gd name="T61" fmla="*/ 1013779020 h 483"/>
                <a:gd name="T62" fmla="*/ 2147483647 w 487"/>
                <a:gd name="T63" fmla="*/ 1489635938 h 483"/>
                <a:gd name="T64" fmla="*/ 2147483647 w 487"/>
                <a:gd name="T65" fmla="*/ 1344810833 h 483"/>
                <a:gd name="T66" fmla="*/ 2147483647 w 487"/>
                <a:gd name="T67" fmla="*/ 1489635938 h 483"/>
                <a:gd name="T68" fmla="*/ 2147483647 w 487"/>
                <a:gd name="T69" fmla="*/ 1924112895 h 483"/>
                <a:gd name="T70" fmla="*/ 2147483647 w 487"/>
                <a:gd name="T71" fmla="*/ 2147483647 h 483"/>
                <a:gd name="T72" fmla="*/ 2147483647 w 487"/>
                <a:gd name="T73" fmla="*/ 2147483647 h 483"/>
                <a:gd name="T74" fmla="*/ 2147483647 w 487"/>
                <a:gd name="T75" fmla="*/ 2147483647 h 483"/>
                <a:gd name="T76" fmla="*/ 2147483647 w 487"/>
                <a:gd name="T77" fmla="*/ 2147483647 h 483"/>
                <a:gd name="T78" fmla="*/ 2147483647 w 487"/>
                <a:gd name="T79" fmla="*/ 2147483647 h 483"/>
                <a:gd name="T80" fmla="*/ 1976259115 w 487"/>
                <a:gd name="T81" fmla="*/ 2147483647 h 483"/>
                <a:gd name="T82" fmla="*/ 1872969211 w 487"/>
                <a:gd name="T83" fmla="*/ 2147483647 h 483"/>
                <a:gd name="T84" fmla="*/ 1749022377 w 487"/>
                <a:gd name="T85" fmla="*/ 2147483647 h 483"/>
                <a:gd name="T86" fmla="*/ 1728365446 w 487"/>
                <a:gd name="T87" fmla="*/ 2147483647 h 483"/>
                <a:gd name="T88" fmla="*/ 1810995794 w 487"/>
                <a:gd name="T89" fmla="*/ 2147483647 h 483"/>
                <a:gd name="T90" fmla="*/ 1501128708 w 487"/>
                <a:gd name="T91" fmla="*/ 2147483647 h 48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87"/>
                <a:gd name="T139" fmla="*/ 0 h 483"/>
                <a:gd name="T140" fmla="*/ 487 w 487"/>
                <a:gd name="T141" fmla="*/ 483 h 48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87" h="483">
                  <a:moveTo>
                    <a:pt x="218" y="483"/>
                  </a:moveTo>
                  <a:cubicBezTo>
                    <a:pt x="215" y="483"/>
                    <a:pt x="215" y="483"/>
                    <a:pt x="212" y="483"/>
                  </a:cubicBezTo>
                  <a:cubicBezTo>
                    <a:pt x="200" y="474"/>
                    <a:pt x="194" y="474"/>
                    <a:pt x="185" y="465"/>
                  </a:cubicBezTo>
                  <a:cubicBezTo>
                    <a:pt x="182" y="462"/>
                    <a:pt x="179" y="462"/>
                    <a:pt x="179" y="459"/>
                  </a:cubicBezTo>
                  <a:cubicBezTo>
                    <a:pt x="179" y="456"/>
                    <a:pt x="179" y="453"/>
                    <a:pt x="179" y="450"/>
                  </a:cubicBezTo>
                  <a:cubicBezTo>
                    <a:pt x="191" y="435"/>
                    <a:pt x="185" y="426"/>
                    <a:pt x="176" y="414"/>
                  </a:cubicBezTo>
                  <a:cubicBezTo>
                    <a:pt x="164" y="402"/>
                    <a:pt x="161" y="387"/>
                    <a:pt x="155" y="381"/>
                  </a:cubicBezTo>
                  <a:cubicBezTo>
                    <a:pt x="146" y="363"/>
                    <a:pt x="149" y="369"/>
                    <a:pt x="134" y="366"/>
                  </a:cubicBezTo>
                  <a:cubicBezTo>
                    <a:pt x="131" y="366"/>
                    <a:pt x="128" y="363"/>
                    <a:pt x="125" y="363"/>
                  </a:cubicBezTo>
                  <a:cubicBezTo>
                    <a:pt x="122" y="357"/>
                    <a:pt x="117" y="351"/>
                    <a:pt x="114" y="345"/>
                  </a:cubicBezTo>
                  <a:cubicBezTo>
                    <a:pt x="111" y="336"/>
                    <a:pt x="108" y="327"/>
                    <a:pt x="105" y="321"/>
                  </a:cubicBezTo>
                  <a:cubicBezTo>
                    <a:pt x="102" y="315"/>
                    <a:pt x="99" y="312"/>
                    <a:pt x="99" y="309"/>
                  </a:cubicBezTo>
                  <a:cubicBezTo>
                    <a:pt x="75" y="309"/>
                    <a:pt x="87" y="330"/>
                    <a:pt x="81" y="342"/>
                  </a:cubicBezTo>
                  <a:cubicBezTo>
                    <a:pt x="78" y="342"/>
                    <a:pt x="78" y="342"/>
                    <a:pt x="75" y="342"/>
                  </a:cubicBezTo>
                  <a:cubicBezTo>
                    <a:pt x="75" y="330"/>
                    <a:pt x="69" y="318"/>
                    <a:pt x="66" y="309"/>
                  </a:cubicBezTo>
                  <a:cubicBezTo>
                    <a:pt x="72" y="306"/>
                    <a:pt x="72" y="294"/>
                    <a:pt x="72" y="294"/>
                  </a:cubicBezTo>
                  <a:cubicBezTo>
                    <a:pt x="72" y="288"/>
                    <a:pt x="72" y="282"/>
                    <a:pt x="75" y="276"/>
                  </a:cubicBezTo>
                  <a:cubicBezTo>
                    <a:pt x="66" y="264"/>
                    <a:pt x="66" y="249"/>
                    <a:pt x="66" y="240"/>
                  </a:cubicBezTo>
                  <a:cubicBezTo>
                    <a:pt x="69" y="234"/>
                    <a:pt x="75" y="231"/>
                    <a:pt x="78" y="228"/>
                  </a:cubicBezTo>
                  <a:cubicBezTo>
                    <a:pt x="75" y="219"/>
                    <a:pt x="75" y="213"/>
                    <a:pt x="75" y="204"/>
                  </a:cubicBezTo>
                  <a:cubicBezTo>
                    <a:pt x="72" y="198"/>
                    <a:pt x="69" y="192"/>
                    <a:pt x="66" y="189"/>
                  </a:cubicBezTo>
                  <a:cubicBezTo>
                    <a:pt x="63" y="177"/>
                    <a:pt x="57" y="162"/>
                    <a:pt x="54" y="156"/>
                  </a:cubicBezTo>
                  <a:cubicBezTo>
                    <a:pt x="42" y="141"/>
                    <a:pt x="27" y="126"/>
                    <a:pt x="27" y="111"/>
                  </a:cubicBezTo>
                  <a:cubicBezTo>
                    <a:pt x="21" y="108"/>
                    <a:pt x="15" y="105"/>
                    <a:pt x="9" y="99"/>
                  </a:cubicBezTo>
                  <a:cubicBezTo>
                    <a:pt x="6" y="99"/>
                    <a:pt x="6" y="96"/>
                    <a:pt x="6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87"/>
                    <a:pt x="0" y="78"/>
                    <a:pt x="3" y="75"/>
                  </a:cubicBezTo>
                  <a:cubicBezTo>
                    <a:pt x="15" y="69"/>
                    <a:pt x="15" y="57"/>
                    <a:pt x="15" y="48"/>
                  </a:cubicBezTo>
                  <a:cubicBezTo>
                    <a:pt x="12" y="42"/>
                    <a:pt x="6" y="36"/>
                    <a:pt x="3" y="33"/>
                  </a:cubicBezTo>
                  <a:cubicBezTo>
                    <a:pt x="3" y="27"/>
                    <a:pt x="3" y="24"/>
                    <a:pt x="3" y="21"/>
                  </a:cubicBezTo>
                  <a:cubicBezTo>
                    <a:pt x="15" y="21"/>
                    <a:pt x="27" y="18"/>
                    <a:pt x="39" y="18"/>
                  </a:cubicBezTo>
                  <a:cubicBezTo>
                    <a:pt x="45" y="21"/>
                    <a:pt x="54" y="30"/>
                    <a:pt x="57" y="39"/>
                  </a:cubicBezTo>
                  <a:cubicBezTo>
                    <a:pt x="57" y="54"/>
                    <a:pt x="72" y="69"/>
                    <a:pt x="87" y="84"/>
                  </a:cubicBezTo>
                  <a:cubicBezTo>
                    <a:pt x="90" y="84"/>
                    <a:pt x="96" y="81"/>
                    <a:pt x="102" y="93"/>
                  </a:cubicBezTo>
                  <a:cubicBezTo>
                    <a:pt x="108" y="93"/>
                    <a:pt x="111" y="90"/>
                    <a:pt x="119" y="87"/>
                  </a:cubicBezTo>
                  <a:cubicBezTo>
                    <a:pt x="119" y="84"/>
                    <a:pt x="122" y="84"/>
                    <a:pt x="122" y="84"/>
                  </a:cubicBezTo>
                  <a:cubicBezTo>
                    <a:pt x="122" y="87"/>
                    <a:pt x="125" y="87"/>
                    <a:pt x="125" y="87"/>
                  </a:cubicBezTo>
                  <a:cubicBezTo>
                    <a:pt x="125" y="93"/>
                    <a:pt x="134" y="96"/>
                    <a:pt x="143" y="96"/>
                  </a:cubicBezTo>
                  <a:cubicBezTo>
                    <a:pt x="143" y="96"/>
                    <a:pt x="146" y="99"/>
                    <a:pt x="146" y="102"/>
                  </a:cubicBezTo>
                  <a:cubicBezTo>
                    <a:pt x="149" y="102"/>
                    <a:pt x="152" y="102"/>
                    <a:pt x="158" y="102"/>
                  </a:cubicBezTo>
                  <a:cubicBezTo>
                    <a:pt x="158" y="99"/>
                    <a:pt x="161" y="96"/>
                    <a:pt x="167" y="93"/>
                  </a:cubicBezTo>
                  <a:cubicBezTo>
                    <a:pt x="173" y="93"/>
                    <a:pt x="182" y="90"/>
                    <a:pt x="188" y="90"/>
                  </a:cubicBezTo>
                  <a:cubicBezTo>
                    <a:pt x="191" y="87"/>
                    <a:pt x="191" y="84"/>
                    <a:pt x="191" y="84"/>
                  </a:cubicBezTo>
                  <a:cubicBezTo>
                    <a:pt x="191" y="66"/>
                    <a:pt x="179" y="45"/>
                    <a:pt x="188" y="39"/>
                  </a:cubicBezTo>
                  <a:cubicBezTo>
                    <a:pt x="191" y="42"/>
                    <a:pt x="194" y="48"/>
                    <a:pt x="203" y="51"/>
                  </a:cubicBezTo>
                  <a:cubicBezTo>
                    <a:pt x="206" y="54"/>
                    <a:pt x="206" y="54"/>
                    <a:pt x="209" y="57"/>
                  </a:cubicBezTo>
                  <a:cubicBezTo>
                    <a:pt x="215" y="60"/>
                    <a:pt x="224" y="60"/>
                    <a:pt x="236" y="57"/>
                  </a:cubicBezTo>
                  <a:cubicBezTo>
                    <a:pt x="239" y="54"/>
                    <a:pt x="239" y="51"/>
                    <a:pt x="242" y="48"/>
                  </a:cubicBezTo>
                  <a:cubicBezTo>
                    <a:pt x="242" y="33"/>
                    <a:pt x="239" y="27"/>
                    <a:pt x="236" y="21"/>
                  </a:cubicBezTo>
                  <a:cubicBezTo>
                    <a:pt x="242" y="15"/>
                    <a:pt x="254" y="0"/>
                    <a:pt x="263" y="9"/>
                  </a:cubicBezTo>
                  <a:cubicBezTo>
                    <a:pt x="266" y="15"/>
                    <a:pt x="269" y="21"/>
                    <a:pt x="284" y="30"/>
                  </a:cubicBezTo>
                  <a:cubicBezTo>
                    <a:pt x="287" y="33"/>
                    <a:pt x="290" y="33"/>
                    <a:pt x="296" y="36"/>
                  </a:cubicBezTo>
                  <a:cubicBezTo>
                    <a:pt x="302" y="45"/>
                    <a:pt x="314" y="51"/>
                    <a:pt x="323" y="66"/>
                  </a:cubicBezTo>
                  <a:cubicBezTo>
                    <a:pt x="323" y="69"/>
                    <a:pt x="326" y="72"/>
                    <a:pt x="326" y="75"/>
                  </a:cubicBezTo>
                  <a:cubicBezTo>
                    <a:pt x="329" y="81"/>
                    <a:pt x="338" y="96"/>
                    <a:pt x="347" y="99"/>
                  </a:cubicBezTo>
                  <a:cubicBezTo>
                    <a:pt x="359" y="99"/>
                    <a:pt x="371" y="99"/>
                    <a:pt x="383" y="99"/>
                  </a:cubicBezTo>
                  <a:cubicBezTo>
                    <a:pt x="392" y="93"/>
                    <a:pt x="395" y="90"/>
                    <a:pt x="406" y="90"/>
                  </a:cubicBezTo>
                  <a:cubicBezTo>
                    <a:pt x="415" y="93"/>
                    <a:pt x="421" y="96"/>
                    <a:pt x="430" y="99"/>
                  </a:cubicBezTo>
                  <a:cubicBezTo>
                    <a:pt x="436" y="99"/>
                    <a:pt x="442" y="99"/>
                    <a:pt x="451" y="99"/>
                  </a:cubicBezTo>
                  <a:cubicBezTo>
                    <a:pt x="457" y="105"/>
                    <a:pt x="460" y="111"/>
                    <a:pt x="475" y="111"/>
                  </a:cubicBezTo>
                  <a:cubicBezTo>
                    <a:pt x="478" y="114"/>
                    <a:pt x="484" y="117"/>
                    <a:pt x="487" y="120"/>
                  </a:cubicBezTo>
                  <a:cubicBezTo>
                    <a:pt x="487" y="129"/>
                    <a:pt x="487" y="138"/>
                    <a:pt x="487" y="147"/>
                  </a:cubicBezTo>
                  <a:cubicBezTo>
                    <a:pt x="475" y="156"/>
                    <a:pt x="469" y="171"/>
                    <a:pt x="466" y="186"/>
                  </a:cubicBezTo>
                  <a:cubicBezTo>
                    <a:pt x="460" y="195"/>
                    <a:pt x="451" y="207"/>
                    <a:pt x="439" y="216"/>
                  </a:cubicBezTo>
                  <a:cubicBezTo>
                    <a:pt x="418" y="222"/>
                    <a:pt x="418" y="213"/>
                    <a:pt x="406" y="204"/>
                  </a:cubicBezTo>
                  <a:cubicBezTo>
                    <a:pt x="401" y="195"/>
                    <a:pt x="389" y="192"/>
                    <a:pt x="386" y="195"/>
                  </a:cubicBezTo>
                  <a:cubicBezTo>
                    <a:pt x="386" y="195"/>
                    <a:pt x="383" y="195"/>
                    <a:pt x="383" y="198"/>
                  </a:cubicBezTo>
                  <a:cubicBezTo>
                    <a:pt x="383" y="204"/>
                    <a:pt x="383" y="210"/>
                    <a:pt x="383" y="216"/>
                  </a:cubicBezTo>
                  <a:cubicBezTo>
                    <a:pt x="386" y="225"/>
                    <a:pt x="389" y="234"/>
                    <a:pt x="389" y="246"/>
                  </a:cubicBezTo>
                  <a:cubicBezTo>
                    <a:pt x="386" y="255"/>
                    <a:pt x="383" y="267"/>
                    <a:pt x="386" y="279"/>
                  </a:cubicBezTo>
                  <a:cubicBezTo>
                    <a:pt x="389" y="282"/>
                    <a:pt x="392" y="285"/>
                    <a:pt x="395" y="288"/>
                  </a:cubicBezTo>
                  <a:cubicBezTo>
                    <a:pt x="401" y="291"/>
                    <a:pt x="412" y="309"/>
                    <a:pt x="401" y="324"/>
                  </a:cubicBezTo>
                  <a:cubicBezTo>
                    <a:pt x="389" y="330"/>
                    <a:pt x="389" y="327"/>
                    <a:pt x="389" y="342"/>
                  </a:cubicBezTo>
                  <a:cubicBezTo>
                    <a:pt x="395" y="354"/>
                    <a:pt x="412" y="351"/>
                    <a:pt x="424" y="366"/>
                  </a:cubicBezTo>
                  <a:cubicBezTo>
                    <a:pt x="424" y="369"/>
                    <a:pt x="424" y="381"/>
                    <a:pt x="421" y="387"/>
                  </a:cubicBezTo>
                  <a:cubicBezTo>
                    <a:pt x="406" y="387"/>
                    <a:pt x="392" y="384"/>
                    <a:pt x="383" y="381"/>
                  </a:cubicBezTo>
                  <a:cubicBezTo>
                    <a:pt x="383" y="372"/>
                    <a:pt x="380" y="363"/>
                    <a:pt x="377" y="357"/>
                  </a:cubicBezTo>
                  <a:cubicBezTo>
                    <a:pt x="365" y="357"/>
                    <a:pt x="362" y="366"/>
                    <a:pt x="353" y="369"/>
                  </a:cubicBezTo>
                  <a:cubicBezTo>
                    <a:pt x="350" y="369"/>
                    <a:pt x="344" y="369"/>
                    <a:pt x="341" y="369"/>
                  </a:cubicBezTo>
                  <a:cubicBezTo>
                    <a:pt x="326" y="357"/>
                    <a:pt x="323" y="342"/>
                    <a:pt x="323" y="333"/>
                  </a:cubicBezTo>
                  <a:cubicBezTo>
                    <a:pt x="320" y="330"/>
                    <a:pt x="317" y="327"/>
                    <a:pt x="317" y="324"/>
                  </a:cubicBezTo>
                  <a:cubicBezTo>
                    <a:pt x="296" y="324"/>
                    <a:pt x="290" y="321"/>
                    <a:pt x="287" y="342"/>
                  </a:cubicBezTo>
                  <a:cubicBezTo>
                    <a:pt x="281" y="348"/>
                    <a:pt x="278" y="345"/>
                    <a:pt x="272" y="348"/>
                  </a:cubicBezTo>
                  <a:cubicBezTo>
                    <a:pt x="272" y="351"/>
                    <a:pt x="272" y="354"/>
                    <a:pt x="272" y="357"/>
                  </a:cubicBezTo>
                  <a:cubicBezTo>
                    <a:pt x="278" y="363"/>
                    <a:pt x="287" y="372"/>
                    <a:pt x="281" y="387"/>
                  </a:cubicBezTo>
                  <a:cubicBezTo>
                    <a:pt x="278" y="396"/>
                    <a:pt x="263" y="402"/>
                    <a:pt x="254" y="408"/>
                  </a:cubicBezTo>
                  <a:cubicBezTo>
                    <a:pt x="254" y="408"/>
                    <a:pt x="254" y="411"/>
                    <a:pt x="251" y="411"/>
                  </a:cubicBezTo>
                  <a:cubicBezTo>
                    <a:pt x="251" y="417"/>
                    <a:pt x="251" y="423"/>
                    <a:pt x="251" y="432"/>
                  </a:cubicBezTo>
                  <a:cubicBezTo>
                    <a:pt x="257" y="441"/>
                    <a:pt x="266" y="435"/>
                    <a:pt x="266" y="456"/>
                  </a:cubicBezTo>
                  <a:cubicBezTo>
                    <a:pt x="263" y="459"/>
                    <a:pt x="263" y="462"/>
                    <a:pt x="263" y="465"/>
                  </a:cubicBezTo>
                  <a:cubicBezTo>
                    <a:pt x="257" y="468"/>
                    <a:pt x="254" y="468"/>
                    <a:pt x="251" y="471"/>
                  </a:cubicBezTo>
                  <a:cubicBezTo>
                    <a:pt x="239" y="474"/>
                    <a:pt x="227" y="480"/>
                    <a:pt x="218" y="483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4" name="Freeform 20"/>
            <p:cNvSpPr>
              <a:spLocks/>
            </p:cNvSpPr>
            <p:nvPr/>
          </p:nvSpPr>
          <p:spPr bwMode="auto">
            <a:xfrm>
              <a:off x="7079783" y="2787258"/>
              <a:ext cx="256589" cy="271068"/>
            </a:xfrm>
            <a:custGeom>
              <a:avLst/>
              <a:gdLst>
                <a:gd name="T0" fmla="*/ 1233742555 w 439"/>
                <a:gd name="T1" fmla="*/ 2147483647 h 470"/>
                <a:gd name="T2" fmla="*/ 1171710999 w 439"/>
                <a:gd name="T3" fmla="*/ 2147483647 h 470"/>
                <a:gd name="T4" fmla="*/ 889121924 w 439"/>
                <a:gd name="T5" fmla="*/ 2147483647 h 470"/>
                <a:gd name="T6" fmla="*/ 599641165 w 439"/>
                <a:gd name="T7" fmla="*/ 2147483647 h 470"/>
                <a:gd name="T8" fmla="*/ 558286794 w 439"/>
                <a:gd name="T9" fmla="*/ 2147483647 h 470"/>
                <a:gd name="T10" fmla="*/ 392866686 w 439"/>
                <a:gd name="T11" fmla="*/ 2147483647 h 470"/>
                <a:gd name="T12" fmla="*/ 206771936 w 439"/>
                <a:gd name="T13" fmla="*/ 1947332392 h 470"/>
                <a:gd name="T14" fmla="*/ 0 w 439"/>
                <a:gd name="T15" fmla="*/ 2030198020 h 470"/>
                <a:gd name="T16" fmla="*/ 62031577 w 439"/>
                <a:gd name="T17" fmla="*/ 1595154789 h 470"/>
                <a:gd name="T18" fmla="*/ 372189501 w 439"/>
                <a:gd name="T19" fmla="*/ 1305127392 h 470"/>
                <a:gd name="T20" fmla="*/ 413543871 w 439"/>
                <a:gd name="T21" fmla="*/ 1097963324 h 470"/>
                <a:gd name="T22" fmla="*/ 434223682 w 439"/>
                <a:gd name="T23" fmla="*/ 642204836 h 470"/>
                <a:gd name="T24" fmla="*/ 289480677 w 439"/>
                <a:gd name="T25" fmla="*/ 414325674 h 470"/>
                <a:gd name="T26" fmla="*/ 413543871 w 439"/>
                <a:gd name="T27" fmla="*/ 82865648 h 470"/>
                <a:gd name="T28" fmla="*/ 640995536 w 439"/>
                <a:gd name="T29" fmla="*/ 352177767 h 470"/>
                <a:gd name="T30" fmla="*/ 744381627 w 439"/>
                <a:gd name="T31" fmla="*/ 186446430 h 470"/>
                <a:gd name="T32" fmla="*/ 868444739 w 439"/>
                <a:gd name="T33" fmla="*/ 331459964 h 470"/>
                <a:gd name="T34" fmla="*/ 1130356629 w 439"/>
                <a:gd name="T35" fmla="*/ 538624115 h 470"/>
                <a:gd name="T36" fmla="*/ 1378483181 w 439"/>
                <a:gd name="T37" fmla="*/ 932234696 h 470"/>
                <a:gd name="T38" fmla="*/ 1337128482 w 439"/>
                <a:gd name="T39" fmla="*/ 1139396137 h 470"/>
                <a:gd name="T40" fmla="*/ 1626612031 w 439"/>
                <a:gd name="T41" fmla="*/ 1346560206 h 470"/>
                <a:gd name="T42" fmla="*/ 1978124182 w 439"/>
                <a:gd name="T43" fmla="*/ 1222261765 h 470"/>
                <a:gd name="T44" fmla="*/ 1916092626 w 439"/>
                <a:gd name="T45" fmla="*/ 932234696 h 470"/>
                <a:gd name="T46" fmla="*/ 2122864480 w 439"/>
                <a:gd name="T47" fmla="*/ 642204836 h 470"/>
                <a:gd name="T48" fmla="*/ 2060832924 w 439"/>
                <a:gd name="T49" fmla="*/ 435043395 h 470"/>
                <a:gd name="T50" fmla="*/ 2102187294 w 439"/>
                <a:gd name="T51" fmla="*/ 393610581 h 470"/>
                <a:gd name="T52" fmla="*/ 2147483647 w 439"/>
                <a:gd name="T53" fmla="*/ 455758488 h 470"/>
                <a:gd name="T54" fmla="*/ 2147483647 w 439"/>
                <a:gd name="T55" fmla="*/ 559339208 h 470"/>
                <a:gd name="T56" fmla="*/ 2147483647 w 439"/>
                <a:gd name="T57" fmla="*/ 497191302 h 470"/>
                <a:gd name="T58" fmla="*/ 2147483647 w 439"/>
                <a:gd name="T59" fmla="*/ 745785721 h 470"/>
                <a:gd name="T60" fmla="*/ 2147483647 w 439"/>
                <a:gd name="T61" fmla="*/ 787218534 h 470"/>
                <a:gd name="T62" fmla="*/ 2147483647 w 439"/>
                <a:gd name="T63" fmla="*/ 994382603 h 470"/>
                <a:gd name="T64" fmla="*/ 2147483647 w 439"/>
                <a:gd name="T65" fmla="*/ 1180828951 h 470"/>
                <a:gd name="T66" fmla="*/ 2147483647 w 439"/>
                <a:gd name="T67" fmla="*/ 1574439696 h 470"/>
                <a:gd name="T68" fmla="*/ 2147483647 w 439"/>
                <a:gd name="T69" fmla="*/ 1885184486 h 470"/>
                <a:gd name="T70" fmla="*/ 2147483647 w 439"/>
                <a:gd name="T71" fmla="*/ 2071630834 h 470"/>
                <a:gd name="T72" fmla="*/ 2147483647 w 439"/>
                <a:gd name="T73" fmla="*/ 2113063647 h 470"/>
                <a:gd name="T74" fmla="*/ 2147483647 w 439"/>
                <a:gd name="T75" fmla="*/ 2147483647 h 470"/>
                <a:gd name="T76" fmla="*/ 2147483647 w 439"/>
                <a:gd name="T77" fmla="*/ 2147483647 h 470"/>
                <a:gd name="T78" fmla="*/ 2147483647 w 439"/>
                <a:gd name="T79" fmla="*/ 2147483647 h 470"/>
                <a:gd name="T80" fmla="*/ 1978124182 w 439"/>
                <a:gd name="T81" fmla="*/ 2147483647 h 470"/>
                <a:gd name="T82" fmla="*/ 1626612031 w 439"/>
                <a:gd name="T83" fmla="*/ 2147483647 h 470"/>
                <a:gd name="T84" fmla="*/ 1419837552 w 439"/>
                <a:gd name="T85" fmla="*/ 2147483647 h 470"/>
                <a:gd name="T86" fmla="*/ 1399160367 w 439"/>
                <a:gd name="T87" fmla="*/ 2147483647 h 470"/>
                <a:gd name="T88" fmla="*/ 1399160367 w 439"/>
                <a:gd name="T89" fmla="*/ 2147483647 h 47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9"/>
                <a:gd name="T136" fmla="*/ 0 h 470"/>
                <a:gd name="T137" fmla="*/ 439 w 439"/>
                <a:gd name="T138" fmla="*/ 470 h 47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9" h="470">
                  <a:moveTo>
                    <a:pt x="203" y="470"/>
                  </a:moveTo>
                  <a:cubicBezTo>
                    <a:pt x="194" y="461"/>
                    <a:pt x="185" y="455"/>
                    <a:pt x="179" y="452"/>
                  </a:cubicBezTo>
                  <a:cubicBezTo>
                    <a:pt x="179" y="440"/>
                    <a:pt x="179" y="434"/>
                    <a:pt x="176" y="425"/>
                  </a:cubicBezTo>
                  <a:cubicBezTo>
                    <a:pt x="173" y="425"/>
                    <a:pt x="173" y="422"/>
                    <a:pt x="170" y="422"/>
                  </a:cubicBezTo>
                  <a:cubicBezTo>
                    <a:pt x="158" y="422"/>
                    <a:pt x="149" y="428"/>
                    <a:pt x="143" y="437"/>
                  </a:cubicBezTo>
                  <a:cubicBezTo>
                    <a:pt x="140" y="437"/>
                    <a:pt x="135" y="434"/>
                    <a:pt x="129" y="434"/>
                  </a:cubicBezTo>
                  <a:cubicBezTo>
                    <a:pt x="126" y="425"/>
                    <a:pt x="123" y="419"/>
                    <a:pt x="117" y="416"/>
                  </a:cubicBezTo>
                  <a:cubicBezTo>
                    <a:pt x="105" y="398"/>
                    <a:pt x="105" y="404"/>
                    <a:pt x="87" y="401"/>
                  </a:cubicBezTo>
                  <a:cubicBezTo>
                    <a:pt x="78" y="392"/>
                    <a:pt x="81" y="380"/>
                    <a:pt x="81" y="374"/>
                  </a:cubicBezTo>
                  <a:cubicBezTo>
                    <a:pt x="84" y="362"/>
                    <a:pt x="87" y="353"/>
                    <a:pt x="81" y="344"/>
                  </a:cubicBezTo>
                  <a:cubicBezTo>
                    <a:pt x="60" y="338"/>
                    <a:pt x="63" y="341"/>
                    <a:pt x="63" y="329"/>
                  </a:cubicBezTo>
                  <a:cubicBezTo>
                    <a:pt x="60" y="323"/>
                    <a:pt x="57" y="318"/>
                    <a:pt x="57" y="312"/>
                  </a:cubicBezTo>
                  <a:cubicBezTo>
                    <a:pt x="54" y="309"/>
                    <a:pt x="54" y="306"/>
                    <a:pt x="51" y="303"/>
                  </a:cubicBezTo>
                  <a:cubicBezTo>
                    <a:pt x="48" y="285"/>
                    <a:pt x="45" y="282"/>
                    <a:pt x="30" y="282"/>
                  </a:cubicBezTo>
                  <a:cubicBezTo>
                    <a:pt x="21" y="288"/>
                    <a:pt x="9" y="294"/>
                    <a:pt x="3" y="294"/>
                  </a:cubicBezTo>
                  <a:cubicBezTo>
                    <a:pt x="3" y="294"/>
                    <a:pt x="3" y="294"/>
                    <a:pt x="0" y="294"/>
                  </a:cubicBezTo>
                  <a:cubicBezTo>
                    <a:pt x="0" y="279"/>
                    <a:pt x="0" y="264"/>
                    <a:pt x="0" y="249"/>
                  </a:cubicBezTo>
                  <a:cubicBezTo>
                    <a:pt x="3" y="243"/>
                    <a:pt x="6" y="237"/>
                    <a:pt x="9" y="231"/>
                  </a:cubicBezTo>
                  <a:cubicBezTo>
                    <a:pt x="18" y="216"/>
                    <a:pt x="27" y="213"/>
                    <a:pt x="42" y="201"/>
                  </a:cubicBezTo>
                  <a:cubicBezTo>
                    <a:pt x="45" y="198"/>
                    <a:pt x="51" y="195"/>
                    <a:pt x="54" y="189"/>
                  </a:cubicBezTo>
                  <a:cubicBezTo>
                    <a:pt x="54" y="183"/>
                    <a:pt x="54" y="174"/>
                    <a:pt x="57" y="168"/>
                  </a:cubicBezTo>
                  <a:cubicBezTo>
                    <a:pt x="57" y="165"/>
                    <a:pt x="60" y="162"/>
                    <a:pt x="60" y="159"/>
                  </a:cubicBezTo>
                  <a:cubicBezTo>
                    <a:pt x="60" y="147"/>
                    <a:pt x="60" y="129"/>
                    <a:pt x="66" y="123"/>
                  </a:cubicBezTo>
                  <a:cubicBezTo>
                    <a:pt x="66" y="111"/>
                    <a:pt x="69" y="102"/>
                    <a:pt x="63" y="93"/>
                  </a:cubicBezTo>
                  <a:cubicBezTo>
                    <a:pt x="57" y="87"/>
                    <a:pt x="48" y="81"/>
                    <a:pt x="42" y="75"/>
                  </a:cubicBezTo>
                  <a:cubicBezTo>
                    <a:pt x="42" y="69"/>
                    <a:pt x="42" y="66"/>
                    <a:pt x="42" y="60"/>
                  </a:cubicBezTo>
                  <a:cubicBezTo>
                    <a:pt x="48" y="60"/>
                    <a:pt x="54" y="57"/>
                    <a:pt x="63" y="54"/>
                  </a:cubicBezTo>
                  <a:cubicBezTo>
                    <a:pt x="69" y="39"/>
                    <a:pt x="60" y="21"/>
                    <a:pt x="60" y="12"/>
                  </a:cubicBezTo>
                  <a:cubicBezTo>
                    <a:pt x="66" y="6"/>
                    <a:pt x="69" y="0"/>
                    <a:pt x="78" y="9"/>
                  </a:cubicBezTo>
                  <a:cubicBezTo>
                    <a:pt x="84" y="21"/>
                    <a:pt x="90" y="33"/>
                    <a:pt x="93" y="51"/>
                  </a:cubicBezTo>
                  <a:cubicBezTo>
                    <a:pt x="96" y="54"/>
                    <a:pt x="96" y="54"/>
                    <a:pt x="105" y="54"/>
                  </a:cubicBezTo>
                  <a:cubicBezTo>
                    <a:pt x="111" y="45"/>
                    <a:pt x="108" y="33"/>
                    <a:pt x="108" y="27"/>
                  </a:cubicBezTo>
                  <a:cubicBezTo>
                    <a:pt x="111" y="24"/>
                    <a:pt x="114" y="24"/>
                    <a:pt x="117" y="21"/>
                  </a:cubicBezTo>
                  <a:cubicBezTo>
                    <a:pt x="120" y="27"/>
                    <a:pt x="123" y="36"/>
                    <a:pt x="126" y="48"/>
                  </a:cubicBezTo>
                  <a:cubicBezTo>
                    <a:pt x="132" y="54"/>
                    <a:pt x="135" y="66"/>
                    <a:pt x="146" y="75"/>
                  </a:cubicBezTo>
                  <a:cubicBezTo>
                    <a:pt x="152" y="75"/>
                    <a:pt x="158" y="78"/>
                    <a:pt x="164" y="78"/>
                  </a:cubicBezTo>
                  <a:cubicBezTo>
                    <a:pt x="170" y="90"/>
                    <a:pt x="176" y="102"/>
                    <a:pt x="182" y="114"/>
                  </a:cubicBezTo>
                  <a:cubicBezTo>
                    <a:pt x="188" y="120"/>
                    <a:pt x="194" y="129"/>
                    <a:pt x="200" y="135"/>
                  </a:cubicBezTo>
                  <a:cubicBezTo>
                    <a:pt x="200" y="138"/>
                    <a:pt x="200" y="141"/>
                    <a:pt x="203" y="144"/>
                  </a:cubicBezTo>
                  <a:cubicBezTo>
                    <a:pt x="194" y="153"/>
                    <a:pt x="194" y="150"/>
                    <a:pt x="194" y="165"/>
                  </a:cubicBezTo>
                  <a:cubicBezTo>
                    <a:pt x="200" y="174"/>
                    <a:pt x="203" y="180"/>
                    <a:pt x="221" y="186"/>
                  </a:cubicBezTo>
                  <a:cubicBezTo>
                    <a:pt x="224" y="189"/>
                    <a:pt x="224" y="192"/>
                    <a:pt x="236" y="195"/>
                  </a:cubicBezTo>
                  <a:cubicBezTo>
                    <a:pt x="239" y="195"/>
                    <a:pt x="245" y="195"/>
                    <a:pt x="248" y="192"/>
                  </a:cubicBezTo>
                  <a:cubicBezTo>
                    <a:pt x="260" y="189"/>
                    <a:pt x="272" y="183"/>
                    <a:pt x="287" y="177"/>
                  </a:cubicBezTo>
                  <a:cubicBezTo>
                    <a:pt x="293" y="165"/>
                    <a:pt x="293" y="159"/>
                    <a:pt x="293" y="150"/>
                  </a:cubicBezTo>
                  <a:cubicBezTo>
                    <a:pt x="287" y="141"/>
                    <a:pt x="281" y="138"/>
                    <a:pt x="278" y="135"/>
                  </a:cubicBezTo>
                  <a:cubicBezTo>
                    <a:pt x="278" y="123"/>
                    <a:pt x="275" y="123"/>
                    <a:pt x="281" y="117"/>
                  </a:cubicBezTo>
                  <a:cubicBezTo>
                    <a:pt x="290" y="111"/>
                    <a:pt x="302" y="105"/>
                    <a:pt x="308" y="93"/>
                  </a:cubicBezTo>
                  <a:cubicBezTo>
                    <a:pt x="308" y="87"/>
                    <a:pt x="308" y="84"/>
                    <a:pt x="308" y="81"/>
                  </a:cubicBezTo>
                  <a:cubicBezTo>
                    <a:pt x="305" y="69"/>
                    <a:pt x="302" y="66"/>
                    <a:pt x="299" y="63"/>
                  </a:cubicBezTo>
                  <a:cubicBezTo>
                    <a:pt x="299" y="60"/>
                    <a:pt x="299" y="60"/>
                    <a:pt x="299" y="60"/>
                  </a:cubicBezTo>
                  <a:cubicBezTo>
                    <a:pt x="302" y="57"/>
                    <a:pt x="305" y="57"/>
                    <a:pt x="305" y="57"/>
                  </a:cubicBezTo>
                  <a:cubicBezTo>
                    <a:pt x="323" y="42"/>
                    <a:pt x="305" y="33"/>
                    <a:pt x="335" y="36"/>
                  </a:cubicBezTo>
                  <a:cubicBezTo>
                    <a:pt x="338" y="45"/>
                    <a:pt x="344" y="57"/>
                    <a:pt x="347" y="66"/>
                  </a:cubicBezTo>
                  <a:cubicBezTo>
                    <a:pt x="350" y="72"/>
                    <a:pt x="353" y="75"/>
                    <a:pt x="359" y="81"/>
                  </a:cubicBezTo>
                  <a:cubicBezTo>
                    <a:pt x="365" y="81"/>
                    <a:pt x="371" y="81"/>
                    <a:pt x="377" y="81"/>
                  </a:cubicBezTo>
                  <a:cubicBezTo>
                    <a:pt x="383" y="75"/>
                    <a:pt x="389" y="72"/>
                    <a:pt x="395" y="69"/>
                  </a:cubicBezTo>
                  <a:cubicBezTo>
                    <a:pt x="395" y="69"/>
                    <a:pt x="395" y="72"/>
                    <a:pt x="398" y="72"/>
                  </a:cubicBezTo>
                  <a:cubicBezTo>
                    <a:pt x="398" y="81"/>
                    <a:pt x="398" y="99"/>
                    <a:pt x="389" y="105"/>
                  </a:cubicBezTo>
                  <a:cubicBezTo>
                    <a:pt x="383" y="108"/>
                    <a:pt x="380" y="108"/>
                    <a:pt x="377" y="108"/>
                  </a:cubicBezTo>
                  <a:cubicBezTo>
                    <a:pt x="371" y="105"/>
                    <a:pt x="365" y="102"/>
                    <a:pt x="359" y="99"/>
                  </a:cubicBezTo>
                  <a:cubicBezTo>
                    <a:pt x="338" y="99"/>
                    <a:pt x="335" y="102"/>
                    <a:pt x="320" y="114"/>
                  </a:cubicBezTo>
                  <a:cubicBezTo>
                    <a:pt x="317" y="117"/>
                    <a:pt x="317" y="120"/>
                    <a:pt x="314" y="123"/>
                  </a:cubicBezTo>
                  <a:cubicBezTo>
                    <a:pt x="314" y="129"/>
                    <a:pt x="311" y="135"/>
                    <a:pt x="317" y="144"/>
                  </a:cubicBezTo>
                  <a:cubicBezTo>
                    <a:pt x="317" y="150"/>
                    <a:pt x="323" y="165"/>
                    <a:pt x="338" y="156"/>
                  </a:cubicBezTo>
                  <a:cubicBezTo>
                    <a:pt x="350" y="156"/>
                    <a:pt x="359" y="150"/>
                    <a:pt x="359" y="171"/>
                  </a:cubicBezTo>
                  <a:cubicBezTo>
                    <a:pt x="356" y="177"/>
                    <a:pt x="353" y="186"/>
                    <a:pt x="350" y="195"/>
                  </a:cubicBezTo>
                  <a:cubicBezTo>
                    <a:pt x="338" y="210"/>
                    <a:pt x="344" y="219"/>
                    <a:pt x="365" y="228"/>
                  </a:cubicBezTo>
                  <a:cubicBezTo>
                    <a:pt x="365" y="231"/>
                    <a:pt x="365" y="237"/>
                    <a:pt x="365" y="240"/>
                  </a:cubicBezTo>
                  <a:cubicBezTo>
                    <a:pt x="365" y="246"/>
                    <a:pt x="356" y="261"/>
                    <a:pt x="365" y="273"/>
                  </a:cubicBezTo>
                  <a:cubicBezTo>
                    <a:pt x="368" y="279"/>
                    <a:pt x="374" y="285"/>
                    <a:pt x="380" y="291"/>
                  </a:cubicBezTo>
                  <a:cubicBezTo>
                    <a:pt x="389" y="294"/>
                    <a:pt x="401" y="297"/>
                    <a:pt x="413" y="300"/>
                  </a:cubicBezTo>
                  <a:cubicBezTo>
                    <a:pt x="416" y="300"/>
                    <a:pt x="419" y="303"/>
                    <a:pt x="425" y="306"/>
                  </a:cubicBezTo>
                  <a:cubicBezTo>
                    <a:pt x="427" y="306"/>
                    <a:pt x="433" y="306"/>
                    <a:pt x="436" y="306"/>
                  </a:cubicBezTo>
                  <a:cubicBezTo>
                    <a:pt x="436" y="312"/>
                    <a:pt x="439" y="315"/>
                    <a:pt x="439" y="318"/>
                  </a:cubicBezTo>
                  <a:cubicBezTo>
                    <a:pt x="436" y="320"/>
                    <a:pt x="436" y="323"/>
                    <a:pt x="433" y="326"/>
                  </a:cubicBezTo>
                  <a:cubicBezTo>
                    <a:pt x="427" y="332"/>
                    <a:pt x="422" y="335"/>
                    <a:pt x="416" y="335"/>
                  </a:cubicBezTo>
                  <a:cubicBezTo>
                    <a:pt x="395" y="335"/>
                    <a:pt x="386" y="344"/>
                    <a:pt x="371" y="353"/>
                  </a:cubicBezTo>
                  <a:cubicBezTo>
                    <a:pt x="368" y="359"/>
                    <a:pt x="365" y="365"/>
                    <a:pt x="359" y="371"/>
                  </a:cubicBezTo>
                  <a:cubicBezTo>
                    <a:pt x="353" y="371"/>
                    <a:pt x="347" y="371"/>
                    <a:pt x="341" y="371"/>
                  </a:cubicBezTo>
                  <a:cubicBezTo>
                    <a:pt x="335" y="374"/>
                    <a:pt x="326" y="389"/>
                    <a:pt x="317" y="386"/>
                  </a:cubicBezTo>
                  <a:cubicBezTo>
                    <a:pt x="305" y="368"/>
                    <a:pt x="296" y="374"/>
                    <a:pt x="287" y="383"/>
                  </a:cubicBezTo>
                  <a:cubicBezTo>
                    <a:pt x="272" y="386"/>
                    <a:pt x="269" y="377"/>
                    <a:pt x="263" y="374"/>
                  </a:cubicBezTo>
                  <a:cubicBezTo>
                    <a:pt x="245" y="368"/>
                    <a:pt x="242" y="377"/>
                    <a:pt x="236" y="386"/>
                  </a:cubicBezTo>
                  <a:cubicBezTo>
                    <a:pt x="230" y="392"/>
                    <a:pt x="218" y="383"/>
                    <a:pt x="215" y="383"/>
                  </a:cubicBezTo>
                  <a:cubicBezTo>
                    <a:pt x="212" y="383"/>
                    <a:pt x="209" y="383"/>
                    <a:pt x="206" y="383"/>
                  </a:cubicBezTo>
                  <a:cubicBezTo>
                    <a:pt x="197" y="392"/>
                    <a:pt x="197" y="389"/>
                    <a:pt x="197" y="404"/>
                  </a:cubicBezTo>
                  <a:cubicBezTo>
                    <a:pt x="203" y="413"/>
                    <a:pt x="209" y="419"/>
                    <a:pt x="203" y="434"/>
                  </a:cubicBezTo>
                  <a:cubicBezTo>
                    <a:pt x="203" y="440"/>
                    <a:pt x="209" y="449"/>
                    <a:pt x="209" y="464"/>
                  </a:cubicBezTo>
                  <a:cubicBezTo>
                    <a:pt x="206" y="467"/>
                    <a:pt x="203" y="470"/>
                    <a:pt x="203" y="470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latin typeface="+mj-ea"/>
                <a:ea typeface="+mj-ea"/>
              </a:endParaRPr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auto">
            <a:xfrm>
              <a:off x="7317641" y="2681687"/>
              <a:ext cx="136070" cy="141805"/>
            </a:xfrm>
            <a:custGeom>
              <a:avLst/>
              <a:gdLst>
                <a:gd name="T0" fmla="*/ 1293585949 w 233"/>
                <a:gd name="T1" fmla="*/ 1697000271 h 246"/>
                <a:gd name="T2" fmla="*/ 1045879124 w 233"/>
                <a:gd name="T3" fmla="*/ 1448659185 h 246"/>
                <a:gd name="T4" fmla="*/ 736242971 w 233"/>
                <a:gd name="T5" fmla="*/ 1221011766 h 246"/>
                <a:gd name="T6" fmla="*/ 694960249 w 233"/>
                <a:gd name="T7" fmla="*/ 1324487000 h 246"/>
                <a:gd name="T8" fmla="*/ 529821327 w 233"/>
                <a:gd name="T9" fmla="*/ 1490049803 h 246"/>
                <a:gd name="T10" fmla="*/ 529821327 w 233"/>
                <a:gd name="T11" fmla="*/ 1510743800 h 246"/>
                <a:gd name="T12" fmla="*/ 488535982 w 233"/>
                <a:gd name="T13" fmla="*/ 1531440422 h 246"/>
                <a:gd name="T14" fmla="*/ 405965292 w 233"/>
                <a:gd name="T15" fmla="*/ 1552134418 h 246"/>
                <a:gd name="T16" fmla="*/ 137614361 w 233"/>
                <a:gd name="T17" fmla="*/ 1469353181 h 246"/>
                <a:gd name="T18" fmla="*/ 158258345 w 233"/>
                <a:gd name="T19" fmla="*/ 1283099007 h 246"/>
                <a:gd name="T20" fmla="*/ 20641366 w 233"/>
                <a:gd name="T21" fmla="*/ 1117536532 h 246"/>
                <a:gd name="T22" fmla="*/ 41285355 w 233"/>
                <a:gd name="T23" fmla="*/ 827804826 h 246"/>
                <a:gd name="T24" fmla="*/ 20641366 w 233"/>
                <a:gd name="T25" fmla="*/ 620854194 h 246"/>
                <a:gd name="T26" fmla="*/ 20641366 w 233"/>
                <a:gd name="T27" fmla="*/ 600157572 h 246"/>
                <a:gd name="T28" fmla="*/ 137614361 w 233"/>
                <a:gd name="T29" fmla="*/ 682938809 h 246"/>
                <a:gd name="T30" fmla="*/ 220185092 w 233"/>
                <a:gd name="T31" fmla="*/ 765720211 h 246"/>
                <a:gd name="T32" fmla="*/ 612389395 w 233"/>
                <a:gd name="T33" fmla="*/ 434597723 h 246"/>
                <a:gd name="T34" fmla="*/ 736242971 w 233"/>
                <a:gd name="T35" fmla="*/ 248341169 h 246"/>
                <a:gd name="T36" fmla="*/ 736242971 w 233"/>
                <a:gd name="T37" fmla="*/ 82781258 h 246"/>
                <a:gd name="T38" fmla="*/ 798169677 w 233"/>
                <a:gd name="T39" fmla="*/ 41390629 h 246"/>
                <a:gd name="T40" fmla="*/ 1107805831 w 233"/>
                <a:gd name="T41" fmla="*/ 103475275 h 246"/>
                <a:gd name="T42" fmla="*/ 1211017882 w 233"/>
                <a:gd name="T43" fmla="*/ 206950550 h 246"/>
                <a:gd name="T44" fmla="*/ 1355515278 w 233"/>
                <a:gd name="T45" fmla="*/ 248341169 h 246"/>
                <a:gd name="T46" fmla="*/ 1603222430 w 233"/>
                <a:gd name="T47" fmla="*/ 496682338 h 246"/>
                <a:gd name="T48" fmla="*/ 1396798328 w 233"/>
                <a:gd name="T49" fmla="*/ 662244813 h 246"/>
                <a:gd name="T50" fmla="*/ 983952418 w 233"/>
                <a:gd name="T51" fmla="*/ 703635596 h 246"/>
                <a:gd name="T52" fmla="*/ 983952418 w 233"/>
                <a:gd name="T53" fmla="*/ 786414207 h 246"/>
                <a:gd name="T54" fmla="*/ 1045879124 w 233"/>
                <a:gd name="T55" fmla="*/ 1055451917 h 246"/>
                <a:gd name="T56" fmla="*/ 1149091176 w 233"/>
                <a:gd name="T57" fmla="*/ 1158927151 h 246"/>
                <a:gd name="T58" fmla="*/ 1252303227 w 233"/>
                <a:gd name="T59" fmla="*/ 1283099007 h 246"/>
                <a:gd name="T60" fmla="*/ 1293585949 w 233"/>
                <a:gd name="T61" fmla="*/ 1407268566 h 246"/>
                <a:gd name="T62" fmla="*/ 1293585949 w 233"/>
                <a:gd name="T63" fmla="*/ 1697000271 h 2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33"/>
                <a:gd name="T97" fmla="*/ 0 h 246"/>
                <a:gd name="T98" fmla="*/ 233 w 233"/>
                <a:gd name="T99" fmla="*/ 246 h 24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33" h="246">
                  <a:moveTo>
                    <a:pt x="188" y="246"/>
                  </a:moveTo>
                  <a:cubicBezTo>
                    <a:pt x="167" y="237"/>
                    <a:pt x="161" y="222"/>
                    <a:pt x="152" y="210"/>
                  </a:cubicBezTo>
                  <a:cubicBezTo>
                    <a:pt x="149" y="186"/>
                    <a:pt x="131" y="165"/>
                    <a:pt x="107" y="177"/>
                  </a:cubicBezTo>
                  <a:cubicBezTo>
                    <a:pt x="101" y="183"/>
                    <a:pt x="101" y="183"/>
                    <a:pt x="101" y="192"/>
                  </a:cubicBezTo>
                  <a:cubicBezTo>
                    <a:pt x="95" y="201"/>
                    <a:pt x="86" y="210"/>
                    <a:pt x="77" y="216"/>
                  </a:cubicBezTo>
                  <a:cubicBezTo>
                    <a:pt x="77" y="216"/>
                    <a:pt x="77" y="216"/>
                    <a:pt x="77" y="219"/>
                  </a:cubicBezTo>
                  <a:cubicBezTo>
                    <a:pt x="74" y="219"/>
                    <a:pt x="71" y="219"/>
                    <a:pt x="71" y="222"/>
                  </a:cubicBezTo>
                  <a:cubicBezTo>
                    <a:pt x="68" y="222"/>
                    <a:pt x="65" y="225"/>
                    <a:pt x="59" y="225"/>
                  </a:cubicBezTo>
                  <a:cubicBezTo>
                    <a:pt x="44" y="225"/>
                    <a:pt x="29" y="222"/>
                    <a:pt x="20" y="213"/>
                  </a:cubicBezTo>
                  <a:cubicBezTo>
                    <a:pt x="26" y="201"/>
                    <a:pt x="26" y="192"/>
                    <a:pt x="23" y="186"/>
                  </a:cubicBezTo>
                  <a:cubicBezTo>
                    <a:pt x="15" y="177"/>
                    <a:pt x="6" y="168"/>
                    <a:pt x="3" y="162"/>
                  </a:cubicBezTo>
                  <a:cubicBezTo>
                    <a:pt x="3" y="147"/>
                    <a:pt x="6" y="132"/>
                    <a:pt x="6" y="120"/>
                  </a:cubicBezTo>
                  <a:cubicBezTo>
                    <a:pt x="3" y="105"/>
                    <a:pt x="0" y="99"/>
                    <a:pt x="3" y="90"/>
                  </a:cubicBezTo>
                  <a:cubicBezTo>
                    <a:pt x="3" y="87"/>
                    <a:pt x="3" y="87"/>
                    <a:pt x="3" y="87"/>
                  </a:cubicBezTo>
                  <a:cubicBezTo>
                    <a:pt x="9" y="90"/>
                    <a:pt x="15" y="96"/>
                    <a:pt x="20" y="99"/>
                  </a:cubicBezTo>
                  <a:cubicBezTo>
                    <a:pt x="23" y="102"/>
                    <a:pt x="29" y="108"/>
                    <a:pt x="32" y="111"/>
                  </a:cubicBezTo>
                  <a:cubicBezTo>
                    <a:pt x="59" y="123"/>
                    <a:pt x="80" y="84"/>
                    <a:pt x="89" y="63"/>
                  </a:cubicBezTo>
                  <a:cubicBezTo>
                    <a:pt x="95" y="54"/>
                    <a:pt x="101" y="45"/>
                    <a:pt x="107" y="36"/>
                  </a:cubicBezTo>
                  <a:cubicBezTo>
                    <a:pt x="107" y="27"/>
                    <a:pt x="107" y="21"/>
                    <a:pt x="107" y="12"/>
                  </a:cubicBezTo>
                  <a:cubicBezTo>
                    <a:pt x="110" y="9"/>
                    <a:pt x="113" y="9"/>
                    <a:pt x="116" y="6"/>
                  </a:cubicBezTo>
                  <a:cubicBezTo>
                    <a:pt x="131" y="6"/>
                    <a:pt x="143" y="0"/>
                    <a:pt x="161" y="15"/>
                  </a:cubicBezTo>
                  <a:cubicBezTo>
                    <a:pt x="167" y="18"/>
                    <a:pt x="170" y="24"/>
                    <a:pt x="176" y="30"/>
                  </a:cubicBezTo>
                  <a:cubicBezTo>
                    <a:pt x="185" y="30"/>
                    <a:pt x="191" y="33"/>
                    <a:pt x="197" y="36"/>
                  </a:cubicBezTo>
                  <a:cubicBezTo>
                    <a:pt x="206" y="39"/>
                    <a:pt x="233" y="54"/>
                    <a:pt x="233" y="72"/>
                  </a:cubicBezTo>
                  <a:cubicBezTo>
                    <a:pt x="221" y="78"/>
                    <a:pt x="212" y="90"/>
                    <a:pt x="203" y="96"/>
                  </a:cubicBezTo>
                  <a:cubicBezTo>
                    <a:pt x="179" y="102"/>
                    <a:pt x="158" y="93"/>
                    <a:pt x="143" y="102"/>
                  </a:cubicBezTo>
                  <a:cubicBezTo>
                    <a:pt x="143" y="108"/>
                    <a:pt x="143" y="111"/>
                    <a:pt x="143" y="114"/>
                  </a:cubicBezTo>
                  <a:cubicBezTo>
                    <a:pt x="152" y="126"/>
                    <a:pt x="131" y="138"/>
                    <a:pt x="152" y="153"/>
                  </a:cubicBezTo>
                  <a:cubicBezTo>
                    <a:pt x="158" y="156"/>
                    <a:pt x="164" y="162"/>
                    <a:pt x="167" y="168"/>
                  </a:cubicBezTo>
                  <a:cubicBezTo>
                    <a:pt x="173" y="174"/>
                    <a:pt x="176" y="180"/>
                    <a:pt x="182" y="186"/>
                  </a:cubicBezTo>
                  <a:cubicBezTo>
                    <a:pt x="185" y="192"/>
                    <a:pt x="185" y="198"/>
                    <a:pt x="188" y="204"/>
                  </a:cubicBezTo>
                  <a:cubicBezTo>
                    <a:pt x="188" y="219"/>
                    <a:pt x="188" y="231"/>
                    <a:pt x="188" y="246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6" name="Freeform 6"/>
            <p:cNvSpPr>
              <a:spLocks/>
            </p:cNvSpPr>
            <p:nvPr/>
          </p:nvSpPr>
          <p:spPr bwMode="auto">
            <a:xfrm>
              <a:off x="7682379" y="2719665"/>
              <a:ext cx="108503" cy="107312"/>
            </a:xfrm>
            <a:custGeom>
              <a:avLst/>
              <a:gdLst>
                <a:gd name="T0" fmla="*/ 556115227 w 186"/>
                <a:gd name="T1" fmla="*/ 1285333791 h 186"/>
                <a:gd name="T2" fmla="*/ 370741793 w 186"/>
                <a:gd name="T3" fmla="*/ 1202409476 h 186"/>
                <a:gd name="T4" fmla="*/ 308951439 w 186"/>
                <a:gd name="T5" fmla="*/ 974366951 h 186"/>
                <a:gd name="T6" fmla="*/ 226566157 w 186"/>
                <a:gd name="T7" fmla="*/ 932903479 h 186"/>
                <a:gd name="T8" fmla="*/ 164775845 w 186"/>
                <a:gd name="T9" fmla="*/ 912173057 h 186"/>
                <a:gd name="T10" fmla="*/ 0 w 186"/>
                <a:gd name="T11" fmla="*/ 601203423 h 186"/>
                <a:gd name="T12" fmla="*/ 102982953 w 186"/>
                <a:gd name="T13" fmla="*/ 456085214 h 186"/>
                <a:gd name="T14" fmla="*/ 205968527 w 186"/>
                <a:gd name="T15" fmla="*/ 331699973 h 186"/>
                <a:gd name="T16" fmla="*/ 247161168 w 186"/>
                <a:gd name="T17" fmla="*/ 269506079 h 186"/>
                <a:gd name="T18" fmla="*/ 267758798 w 186"/>
                <a:gd name="T19" fmla="*/ 103654778 h 186"/>
                <a:gd name="T20" fmla="*/ 391339423 w 186"/>
                <a:gd name="T21" fmla="*/ 82924336 h 186"/>
                <a:gd name="T22" fmla="*/ 494324956 w 186"/>
                <a:gd name="T23" fmla="*/ 82924336 h 186"/>
                <a:gd name="T24" fmla="*/ 700293565 w 186"/>
                <a:gd name="T25" fmla="*/ 62193914 h 186"/>
                <a:gd name="T26" fmla="*/ 885664379 w 186"/>
                <a:gd name="T27" fmla="*/ 103654778 h 186"/>
                <a:gd name="T28" fmla="*/ 1029842553 w 186"/>
                <a:gd name="T29" fmla="*/ 62193914 h 186"/>
                <a:gd name="T30" fmla="*/ 1132825465 w 186"/>
                <a:gd name="T31" fmla="*/ 103654778 h 186"/>
                <a:gd name="T32" fmla="*/ 1256406008 w 186"/>
                <a:gd name="T33" fmla="*/ 124387829 h 186"/>
                <a:gd name="T34" fmla="*/ 1112227834 w 186"/>
                <a:gd name="T35" fmla="*/ 331699973 h 186"/>
                <a:gd name="T36" fmla="*/ 1215213367 w 186"/>
                <a:gd name="T37" fmla="*/ 331699973 h 186"/>
                <a:gd name="T38" fmla="*/ 1256406008 w 186"/>
                <a:gd name="T39" fmla="*/ 290236501 h 186"/>
                <a:gd name="T40" fmla="*/ 1235810998 w 186"/>
                <a:gd name="T41" fmla="*/ 373160899 h 186"/>
                <a:gd name="T42" fmla="*/ 1112227834 w 186"/>
                <a:gd name="T43" fmla="*/ 435354792 h 186"/>
                <a:gd name="T44" fmla="*/ 1112227834 w 186"/>
                <a:gd name="T45" fmla="*/ 497548686 h 186"/>
                <a:gd name="T46" fmla="*/ 1194615736 w 186"/>
                <a:gd name="T47" fmla="*/ 518279108 h 186"/>
                <a:gd name="T48" fmla="*/ 1174020726 w 186"/>
                <a:gd name="T49" fmla="*/ 704860954 h 186"/>
                <a:gd name="T50" fmla="*/ 1174020726 w 186"/>
                <a:gd name="T51" fmla="*/ 849979163 h 186"/>
                <a:gd name="T52" fmla="*/ 1132825465 w 186"/>
                <a:gd name="T53" fmla="*/ 870709585 h 186"/>
                <a:gd name="T54" fmla="*/ 1132825465 w 186"/>
                <a:gd name="T55" fmla="*/ 829248741 h 186"/>
                <a:gd name="T56" fmla="*/ 926857020 w 186"/>
                <a:gd name="T57" fmla="*/ 974366951 h 186"/>
                <a:gd name="T58" fmla="*/ 906262010 w 186"/>
                <a:gd name="T59" fmla="*/ 1036560845 h 186"/>
                <a:gd name="T60" fmla="*/ 906262010 w 186"/>
                <a:gd name="T61" fmla="*/ 1223139897 h 186"/>
                <a:gd name="T62" fmla="*/ 865066748 w 186"/>
                <a:gd name="T63" fmla="*/ 1223139897 h 186"/>
                <a:gd name="T64" fmla="*/ 556115227 w 186"/>
                <a:gd name="T65" fmla="*/ 1285333791 h 18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86"/>
                <a:gd name="T100" fmla="*/ 0 h 186"/>
                <a:gd name="T101" fmla="*/ 186 w 186"/>
                <a:gd name="T102" fmla="*/ 186 h 18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86" h="186">
                  <a:moveTo>
                    <a:pt x="81" y="186"/>
                  </a:moveTo>
                  <a:cubicBezTo>
                    <a:pt x="66" y="183"/>
                    <a:pt x="60" y="180"/>
                    <a:pt x="54" y="174"/>
                  </a:cubicBezTo>
                  <a:cubicBezTo>
                    <a:pt x="51" y="165"/>
                    <a:pt x="48" y="153"/>
                    <a:pt x="45" y="141"/>
                  </a:cubicBezTo>
                  <a:cubicBezTo>
                    <a:pt x="42" y="138"/>
                    <a:pt x="39" y="138"/>
                    <a:pt x="33" y="135"/>
                  </a:cubicBezTo>
                  <a:cubicBezTo>
                    <a:pt x="30" y="132"/>
                    <a:pt x="27" y="132"/>
                    <a:pt x="24" y="132"/>
                  </a:cubicBezTo>
                  <a:cubicBezTo>
                    <a:pt x="30" y="114"/>
                    <a:pt x="9" y="93"/>
                    <a:pt x="0" y="87"/>
                  </a:cubicBezTo>
                  <a:cubicBezTo>
                    <a:pt x="0" y="78"/>
                    <a:pt x="12" y="72"/>
                    <a:pt x="15" y="66"/>
                  </a:cubicBezTo>
                  <a:cubicBezTo>
                    <a:pt x="15" y="57"/>
                    <a:pt x="24" y="54"/>
                    <a:pt x="30" y="48"/>
                  </a:cubicBezTo>
                  <a:cubicBezTo>
                    <a:pt x="33" y="45"/>
                    <a:pt x="33" y="42"/>
                    <a:pt x="36" y="39"/>
                  </a:cubicBezTo>
                  <a:cubicBezTo>
                    <a:pt x="36" y="33"/>
                    <a:pt x="36" y="15"/>
                    <a:pt x="39" y="15"/>
                  </a:cubicBezTo>
                  <a:cubicBezTo>
                    <a:pt x="42" y="12"/>
                    <a:pt x="48" y="3"/>
                    <a:pt x="57" y="12"/>
                  </a:cubicBezTo>
                  <a:cubicBezTo>
                    <a:pt x="63" y="12"/>
                    <a:pt x="66" y="12"/>
                    <a:pt x="72" y="12"/>
                  </a:cubicBezTo>
                  <a:cubicBezTo>
                    <a:pt x="78" y="3"/>
                    <a:pt x="90" y="6"/>
                    <a:pt x="102" y="9"/>
                  </a:cubicBezTo>
                  <a:cubicBezTo>
                    <a:pt x="105" y="15"/>
                    <a:pt x="117" y="21"/>
                    <a:pt x="129" y="15"/>
                  </a:cubicBezTo>
                  <a:cubicBezTo>
                    <a:pt x="135" y="12"/>
                    <a:pt x="141" y="0"/>
                    <a:pt x="150" y="9"/>
                  </a:cubicBezTo>
                  <a:cubicBezTo>
                    <a:pt x="156" y="12"/>
                    <a:pt x="159" y="12"/>
                    <a:pt x="165" y="15"/>
                  </a:cubicBezTo>
                  <a:cubicBezTo>
                    <a:pt x="171" y="15"/>
                    <a:pt x="177" y="15"/>
                    <a:pt x="183" y="18"/>
                  </a:cubicBezTo>
                  <a:cubicBezTo>
                    <a:pt x="183" y="21"/>
                    <a:pt x="150" y="36"/>
                    <a:pt x="162" y="48"/>
                  </a:cubicBezTo>
                  <a:cubicBezTo>
                    <a:pt x="165" y="48"/>
                    <a:pt x="171" y="48"/>
                    <a:pt x="177" y="48"/>
                  </a:cubicBezTo>
                  <a:cubicBezTo>
                    <a:pt x="177" y="45"/>
                    <a:pt x="180" y="42"/>
                    <a:pt x="183" y="42"/>
                  </a:cubicBezTo>
                  <a:cubicBezTo>
                    <a:pt x="183" y="42"/>
                    <a:pt x="186" y="51"/>
                    <a:pt x="180" y="54"/>
                  </a:cubicBezTo>
                  <a:cubicBezTo>
                    <a:pt x="171" y="57"/>
                    <a:pt x="168" y="57"/>
                    <a:pt x="162" y="63"/>
                  </a:cubicBezTo>
                  <a:cubicBezTo>
                    <a:pt x="162" y="66"/>
                    <a:pt x="162" y="69"/>
                    <a:pt x="162" y="72"/>
                  </a:cubicBezTo>
                  <a:cubicBezTo>
                    <a:pt x="165" y="72"/>
                    <a:pt x="168" y="75"/>
                    <a:pt x="174" y="75"/>
                  </a:cubicBezTo>
                  <a:cubicBezTo>
                    <a:pt x="171" y="84"/>
                    <a:pt x="171" y="90"/>
                    <a:pt x="171" y="102"/>
                  </a:cubicBezTo>
                  <a:cubicBezTo>
                    <a:pt x="171" y="108"/>
                    <a:pt x="174" y="120"/>
                    <a:pt x="171" y="123"/>
                  </a:cubicBezTo>
                  <a:cubicBezTo>
                    <a:pt x="168" y="123"/>
                    <a:pt x="168" y="126"/>
                    <a:pt x="165" y="126"/>
                  </a:cubicBezTo>
                  <a:cubicBezTo>
                    <a:pt x="165" y="123"/>
                    <a:pt x="165" y="120"/>
                    <a:pt x="165" y="120"/>
                  </a:cubicBezTo>
                  <a:cubicBezTo>
                    <a:pt x="156" y="111"/>
                    <a:pt x="141" y="135"/>
                    <a:pt x="135" y="141"/>
                  </a:cubicBezTo>
                  <a:cubicBezTo>
                    <a:pt x="135" y="141"/>
                    <a:pt x="135" y="147"/>
                    <a:pt x="132" y="150"/>
                  </a:cubicBezTo>
                  <a:cubicBezTo>
                    <a:pt x="132" y="159"/>
                    <a:pt x="132" y="168"/>
                    <a:pt x="132" y="177"/>
                  </a:cubicBezTo>
                  <a:cubicBezTo>
                    <a:pt x="129" y="177"/>
                    <a:pt x="129" y="177"/>
                    <a:pt x="126" y="177"/>
                  </a:cubicBezTo>
                  <a:cubicBezTo>
                    <a:pt x="105" y="177"/>
                    <a:pt x="96" y="180"/>
                    <a:pt x="81" y="186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7" name="Freeform 25"/>
            <p:cNvSpPr>
              <a:spLocks/>
            </p:cNvSpPr>
            <p:nvPr/>
          </p:nvSpPr>
          <p:spPr bwMode="auto">
            <a:xfrm>
              <a:off x="7556558" y="2742311"/>
              <a:ext cx="138191" cy="191977"/>
            </a:xfrm>
            <a:custGeom>
              <a:avLst/>
              <a:gdLst>
                <a:gd name="T0" fmla="*/ 435811591 w 236"/>
                <a:gd name="T1" fmla="*/ 2147483647 h 333"/>
                <a:gd name="T2" fmla="*/ 352799140 w 236"/>
                <a:gd name="T3" fmla="*/ 2147483647 h 333"/>
                <a:gd name="T4" fmla="*/ 352799140 w 236"/>
                <a:gd name="T5" fmla="*/ 2147483647 h 333"/>
                <a:gd name="T6" fmla="*/ 498069615 w 236"/>
                <a:gd name="T7" fmla="*/ 2069970124 h 333"/>
                <a:gd name="T8" fmla="*/ 477317817 w 236"/>
                <a:gd name="T9" fmla="*/ 1966470338 h 333"/>
                <a:gd name="T10" fmla="*/ 332047259 w 236"/>
                <a:gd name="T11" fmla="*/ 1987171871 h 333"/>
                <a:gd name="T12" fmla="*/ 228283010 w 236"/>
                <a:gd name="T13" fmla="*/ 2007870778 h 333"/>
                <a:gd name="T14" fmla="*/ 186776784 w 236"/>
                <a:gd name="T15" fmla="*/ 1862973178 h 333"/>
                <a:gd name="T16" fmla="*/ 207528582 w 236"/>
                <a:gd name="T17" fmla="*/ 1573177977 h 333"/>
                <a:gd name="T18" fmla="*/ 166022315 w 236"/>
                <a:gd name="T19" fmla="*/ 1552476444 h 333"/>
                <a:gd name="T20" fmla="*/ 83012472 w 236"/>
                <a:gd name="T21" fmla="*/ 1241982009 h 333"/>
                <a:gd name="T22" fmla="*/ 62258044 w 236"/>
                <a:gd name="T23" fmla="*/ 993584622 h 333"/>
                <a:gd name="T24" fmla="*/ 186776784 w 236"/>
                <a:gd name="T25" fmla="*/ 848687022 h 333"/>
                <a:gd name="T26" fmla="*/ 186776784 w 236"/>
                <a:gd name="T27" fmla="*/ 662391445 h 333"/>
                <a:gd name="T28" fmla="*/ 124518719 w 236"/>
                <a:gd name="T29" fmla="*/ 538192751 h 333"/>
                <a:gd name="T30" fmla="*/ 103764291 w 236"/>
                <a:gd name="T31" fmla="*/ 517491218 h 333"/>
                <a:gd name="T32" fmla="*/ 186776784 w 236"/>
                <a:gd name="T33" fmla="*/ 434692964 h 333"/>
                <a:gd name="T34" fmla="*/ 311292831 w 236"/>
                <a:gd name="T35" fmla="*/ 413994058 h 333"/>
                <a:gd name="T36" fmla="*/ 332047259 w 236"/>
                <a:gd name="T37" fmla="*/ 393295151 h 333"/>
                <a:gd name="T38" fmla="*/ 581082067 w 236"/>
                <a:gd name="T39" fmla="*/ 206997029 h 333"/>
                <a:gd name="T40" fmla="*/ 892374981 w 236"/>
                <a:gd name="T41" fmla="*/ 82798274 h 333"/>
                <a:gd name="T42" fmla="*/ 1016893659 w 236"/>
                <a:gd name="T43" fmla="*/ 0 h 333"/>
                <a:gd name="T44" fmla="*/ 1016893659 w 236"/>
                <a:gd name="T45" fmla="*/ 165596548 h 333"/>
                <a:gd name="T46" fmla="*/ 1120657908 w 236"/>
                <a:gd name="T47" fmla="*/ 206997029 h 333"/>
                <a:gd name="T48" fmla="*/ 1182915932 w 236"/>
                <a:gd name="T49" fmla="*/ 62099367 h 333"/>
                <a:gd name="T50" fmla="*/ 1300514714 w 236"/>
                <a:gd name="T51" fmla="*/ 186298122 h 333"/>
                <a:gd name="T52" fmla="*/ 1487291744 w 236"/>
                <a:gd name="T53" fmla="*/ 144897641 h 333"/>
                <a:gd name="T54" fmla="*/ 1549549768 w 236"/>
                <a:gd name="T55" fmla="*/ 144897641 h 333"/>
                <a:gd name="T56" fmla="*/ 1466539946 w 236"/>
                <a:gd name="T57" fmla="*/ 351894711 h 333"/>
                <a:gd name="T58" fmla="*/ 1632562220 w 236"/>
                <a:gd name="T59" fmla="*/ 579590564 h 333"/>
                <a:gd name="T60" fmla="*/ 1632562220 w 236"/>
                <a:gd name="T61" fmla="*/ 662391445 h 333"/>
                <a:gd name="T62" fmla="*/ 1570304196 w 236"/>
                <a:gd name="T63" fmla="*/ 765888769 h 333"/>
                <a:gd name="T64" fmla="*/ 1321269142 w 236"/>
                <a:gd name="T65" fmla="*/ 869385929 h 333"/>
                <a:gd name="T66" fmla="*/ 1245173956 w 236"/>
                <a:gd name="T67" fmla="*/ 1055683969 h 333"/>
                <a:gd name="T68" fmla="*/ 1245173956 w 236"/>
                <a:gd name="T69" fmla="*/ 1200581569 h 333"/>
                <a:gd name="T70" fmla="*/ 1162164134 w 236"/>
                <a:gd name="T71" fmla="*/ 1283379822 h 333"/>
                <a:gd name="T72" fmla="*/ 1058397254 w 236"/>
                <a:gd name="T73" fmla="*/ 1531777537 h 333"/>
                <a:gd name="T74" fmla="*/ 1037645456 w 236"/>
                <a:gd name="T75" fmla="*/ 1614575791 h 333"/>
                <a:gd name="T76" fmla="*/ 933881207 w 236"/>
                <a:gd name="T77" fmla="*/ 1821572737 h 333"/>
                <a:gd name="T78" fmla="*/ 954633005 w 236"/>
                <a:gd name="T79" fmla="*/ 1883672084 h 333"/>
                <a:gd name="T80" fmla="*/ 913129409 w 236"/>
                <a:gd name="T81" fmla="*/ 2132069471 h 333"/>
                <a:gd name="T82" fmla="*/ 933881207 w 236"/>
                <a:gd name="T83" fmla="*/ 2147483647 h 333"/>
                <a:gd name="T84" fmla="*/ 809362529 w 236"/>
                <a:gd name="T85" fmla="*/ 2147483647 h 333"/>
                <a:gd name="T86" fmla="*/ 539575841 w 236"/>
                <a:gd name="T87" fmla="*/ 2147483647 h 333"/>
                <a:gd name="T88" fmla="*/ 435811591 w 236"/>
                <a:gd name="T89" fmla="*/ 2147483647 h 33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36"/>
                <a:gd name="T136" fmla="*/ 0 h 333"/>
                <a:gd name="T137" fmla="*/ 236 w 236"/>
                <a:gd name="T138" fmla="*/ 333 h 33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36" h="333">
                  <a:moveTo>
                    <a:pt x="63" y="333"/>
                  </a:moveTo>
                  <a:cubicBezTo>
                    <a:pt x="60" y="330"/>
                    <a:pt x="54" y="330"/>
                    <a:pt x="51" y="330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7" y="318"/>
                    <a:pt x="66" y="309"/>
                    <a:pt x="72" y="300"/>
                  </a:cubicBezTo>
                  <a:cubicBezTo>
                    <a:pt x="72" y="291"/>
                    <a:pt x="69" y="288"/>
                    <a:pt x="69" y="285"/>
                  </a:cubicBezTo>
                  <a:cubicBezTo>
                    <a:pt x="57" y="285"/>
                    <a:pt x="54" y="285"/>
                    <a:pt x="48" y="288"/>
                  </a:cubicBezTo>
                  <a:cubicBezTo>
                    <a:pt x="45" y="288"/>
                    <a:pt x="39" y="288"/>
                    <a:pt x="33" y="291"/>
                  </a:cubicBezTo>
                  <a:cubicBezTo>
                    <a:pt x="33" y="282"/>
                    <a:pt x="30" y="276"/>
                    <a:pt x="27" y="270"/>
                  </a:cubicBezTo>
                  <a:cubicBezTo>
                    <a:pt x="27" y="255"/>
                    <a:pt x="33" y="243"/>
                    <a:pt x="30" y="228"/>
                  </a:cubicBezTo>
                  <a:cubicBezTo>
                    <a:pt x="27" y="228"/>
                    <a:pt x="27" y="225"/>
                    <a:pt x="24" y="225"/>
                  </a:cubicBezTo>
                  <a:cubicBezTo>
                    <a:pt x="24" y="207"/>
                    <a:pt x="15" y="192"/>
                    <a:pt x="12" y="180"/>
                  </a:cubicBezTo>
                  <a:cubicBezTo>
                    <a:pt x="6" y="162"/>
                    <a:pt x="0" y="156"/>
                    <a:pt x="9" y="144"/>
                  </a:cubicBezTo>
                  <a:cubicBezTo>
                    <a:pt x="15" y="141"/>
                    <a:pt x="24" y="126"/>
                    <a:pt x="27" y="123"/>
                  </a:cubicBezTo>
                  <a:cubicBezTo>
                    <a:pt x="27" y="114"/>
                    <a:pt x="27" y="105"/>
                    <a:pt x="27" y="96"/>
                  </a:cubicBezTo>
                  <a:cubicBezTo>
                    <a:pt x="24" y="90"/>
                    <a:pt x="21" y="84"/>
                    <a:pt x="18" y="78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8" y="72"/>
                    <a:pt x="24" y="66"/>
                    <a:pt x="27" y="63"/>
                  </a:cubicBezTo>
                  <a:cubicBezTo>
                    <a:pt x="27" y="63"/>
                    <a:pt x="42" y="63"/>
                    <a:pt x="45" y="60"/>
                  </a:cubicBezTo>
                  <a:cubicBezTo>
                    <a:pt x="45" y="57"/>
                    <a:pt x="48" y="57"/>
                    <a:pt x="48" y="57"/>
                  </a:cubicBezTo>
                  <a:cubicBezTo>
                    <a:pt x="57" y="45"/>
                    <a:pt x="72" y="39"/>
                    <a:pt x="84" y="30"/>
                  </a:cubicBezTo>
                  <a:cubicBezTo>
                    <a:pt x="90" y="18"/>
                    <a:pt x="114" y="24"/>
                    <a:pt x="129" y="12"/>
                  </a:cubicBezTo>
                  <a:cubicBezTo>
                    <a:pt x="132" y="0"/>
                    <a:pt x="132" y="0"/>
                    <a:pt x="147" y="0"/>
                  </a:cubicBezTo>
                  <a:cubicBezTo>
                    <a:pt x="147" y="9"/>
                    <a:pt x="147" y="18"/>
                    <a:pt x="147" y="24"/>
                  </a:cubicBezTo>
                  <a:cubicBezTo>
                    <a:pt x="150" y="30"/>
                    <a:pt x="156" y="30"/>
                    <a:pt x="162" y="30"/>
                  </a:cubicBezTo>
                  <a:cubicBezTo>
                    <a:pt x="171" y="24"/>
                    <a:pt x="168" y="12"/>
                    <a:pt x="171" y="9"/>
                  </a:cubicBezTo>
                  <a:cubicBezTo>
                    <a:pt x="174" y="12"/>
                    <a:pt x="177" y="27"/>
                    <a:pt x="188" y="27"/>
                  </a:cubicBezTo>
                  <a:cubicBezTo>
                    <a:pt x="197" y="27"/>
                    <a:pt x="206" y="27"/>
                    <a:pt x="215" y="21"/>
                  </a:cubicBezTo>
                  <a:cubicBezTo>
                    <a:pt x="218" y="21"/>
                    <a:pt x="221" y="21"/>
                    <a:pt x="224" y="21"/>
                  </a:cubicBezTo>
                  <a:cubicBezTo>
                    <a:pt x="221" y="33"/>
                    <a:pt x="206" y="36"/>
                    <a:pt x="212" y="51"/>
                  </a:cubicBezTo>
                  <a:cubicBezTo>
                    <a:pt x="221" y="60"/>
                    <a:pt x="227" y="69"/>
                    <a:pt x="236" y="84"/>
                  </a:cubicBezTo>
                  <a:cubicBezTo>
                    <a:pt x="236" y="90"/>
                    <a:pt x="236" y="93"/>
                    <a:pt x="236" y="96"/>
                  </a:cubicBezTo>
                  <a:cubicBezTo>
                    <a:pt x="233" y="99"/>
                    <a:pt x="230" y="105"/>
                    <a:pt x="227" y="111"/>
                  </a:cubicBezTo>
                  <a:cubicBezTo>
                    <a:pt x="215" y="126"/>
                    <a:pt x="203" y="120"/>
                    <a:pt x="191" y="126"/>
                  </a:cubicBezTo>
                  <a:cubicBezTo>
                    <a:pt x="180" y="138"/>
                    <a:pt x="177" y="135"/>
                    <a:pt x="180" y="153"/>
                  </a:cubicBezTo>
                  <a:cubicBezTo>
                    <a:pt x="183" y="159"/>
                    <a:pt x="183" y="165"/>
                    <a:pt x="180" y="174"/>
                  </a:cubicBezTo>
                  <a:cubicBezTo>
                    <a:pt x="174" y="177"/>
                    <a:pt x="171" y="180"/>
                    <a:pt x="168" y="186"/>
                  </a:cubicBezTo>
                  <a:cubicBezTo>
                    <a:pt x="150" y="198"/>
                    <a:pt x="150" y="195"/>
                    <a:pt x="153" y="222"/>
                  </a:cubicBezTo>
                  <a:cubicBezTo>
                    <a:pt x="153" y="225"/>
                    <a:pt x="153" y="231"/>
                    <a:pt x="150" y="234"/>
                  </a:cubicBezTo>
                  <a:cubicBezTo>
                    <a:pt x="138" y="246"/>
                    <a:pt x="135" y="246"/>
                    <a:pt x="135" y="264"/>
                  </a:cubicBezTo>
                  <a:cubicBezTo>
                    <a:pt x="135" y="267"/>
                    <a:pt x="138" y="270"/>
                    <a:pt x="138" y="273"/>
                  </a:cubicBezTo>
                  <a:cubicBezTo>
                    <a:pt x="135" y="282"/>
                    <a:pt x="129" y="297"/>
                    <a:pt x="132" y="309"/>
                  </a:cubicBezTo>
                  <a:cubicBezTo>
                    <a:pt x="132" y="312"/>
                    <a:pt x="132" y="315"/>
                    <a:pt x="135" y="315"/>
                  </a:cubicBezTo>
                  <a:cubicBezTo>
                    <a:pt x="129" y="318"/>
                    <a:pt x="123" y="321"/>
                    <a:pt x="117" y="327"/>
                  </a:cubicBezTo>
                  <a:cubicBezTo>
                    <a:pt x="105" y="315"/>
                    <a:pt x="93" y="324"/>
                    <a:pt x="78" y="330"/>
                  </a:cubicBezTo>
                  <a:cubicBezTo>
                    <a:pt x="72" y="330"/>
                    <a:pt x="69" y="333"/>
                    <a:pt x="63" y="333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auto">
            <a:xfrm>
              <a:off x="7584832" y="2591795"/>
              <a:ext cx="134303" cy="164452"/>
            </a:xfrm>
            <a:custGeom>
              <a:avLst/>
              <a:gdLst>
                <a:gd name="T0" fmla="*/ 742954962 w 230"/>
                <a:gd name="T1" fmla="*/ 1970001533 h 285"/>
                <a:gd name="T2" fmla="*/ 722318572 w 230"/>
                <a:gd name="T3" fmla="*/ 1949265650 h 285"/>
                <a:gd name="T4" fmla="*/ 722318572 w 230"/>
                <a:gd name="T5" fmla="*/ 1804106584 h 285"/>
                <a:gd name="T6" fmla="*/ 701679559 w 230"/>
                <a:gd name="T7" fmla="*/ 1783370701 h 285"/>
                <a:gd name="T8" fmla="*/ 515941392 w 230"/>
                <a:gd name="T9" fmla="*/ 1866316861 h 285"/>
                <a:gd name="T10" fmla="*/ 495305002 w 230"/>
                <a:gd name="T11" fmla="*/ 1887055373 h 285"/>
                <a:gd name="T12" fmla="*/ 433390586 w 230"/>
                <a:gd name="T13" fmla="*/ 1824842467 h 285"/>
                <a:gd name="T14" fmla="*/ 412754196 w 230"/>
                <a:gd name="T15" fmla="*/ 1783370701 h 285"/>
                <a:gd name="T16" fmla="*/ 350839780 w 230"/>
                <a:gd name="T17" fmla="*/ 1617475752 h 285"/>
                <a:gd name="T18" fmla="*/ 309564294 w 230"/>
                <a:gd name="T19" fmla="*/ 1596737240 h 285"/>
                <a:gd name="T20" fmla="*/ 371478793 w 230"/>
                <a:gd name="T21" fmla="*/ 1493052569 h 285"/>
                <a:gd name="T22" fmla="*/ 206377098 w 230"/>
                <a:gd name="T23" fmla="*/ 1347895803 h 285"/>
                <a:gd name="T24" fmla="*/ 206377098 w 230"/>
                <a:gd name="T25" fmla="*/ 1306421408 h 285"/>
                <a:gd name="T26" fmla="*/ 185738085 w 230"/>
                <a:gd name="T27" fmla="*/ 1285685526 h 285"/>
                <a:gd name="T28" fmla="*/ 288927904 w 230"/>
                <a:gd name="T29" fmla="*/ 1182000854 h 285"/>
                <a:gd name="T30" fmla="*/ 350839780 w 230"/>
                <a:gd name="T31" fmla="*/ 1119790577 h 285"/>
                <a:gd name="T32" fmla="*/ 268288891 w 230"/>
                <a:gd name="T33" fmla="*/ 870946839 h 285"/>
                <a:gd name="T34" fmla="*/ 185738085 w 230"/>
                <a:gd name="T35" fmla="*/ 870946839 h 285"/>
                <a:gd name="T36" fmla="*/ 165101654 w 230"/>
                <a:gd name="T37" fmla="*/ 891685351 h 285"/>
                <a:gd name="T38" fmla="*/ 123826251 w 230"/>
                <a:gd name="T39" fmla="*/ 891685351 h 285"/>
                <a:gd name="T40" fmla="*/ 61911814 w 230"/>
                <a:gd name="T41" fmla="*/ 725790402 h 285"/>
                <a:gd name="T42" fmla="*/ 0 w 230"/>
                <a:gd name="T43" fmla="*/ 684315843 h 285"/>
                <a:gd name="T44" fmla="*/ 144462641 w 230"/>
                <a:gd name="T45" fmla="*/ 497685011 h 285"/>
                <a:gd name="T46" fmla="*/ 144462641 w 230"/>
                <a:gd name="T47" fmla="*/ 248841191 h 285"/>
                <a:gd name="T48" fmla="*/ 165101654 w 230"/>
                <a:gd name="T49" fmla="*/ 228105308 h 285"/>
                <a:gd name="T50" fmla="*/ 185738085 w 230"/>
                <a:gd name="T51" fmla="*/ 248841191 h 285"/>
                <a:gd name="T52" fmla="*/ 309564294 w 230"/>
                <a:gd name="T53" fmla="*/ 394000339 h 285"/>
                <a:gd name="T54" fmla="*/ 371478793 w 230"/>
                <a:gd name="T55" fmla="*/ 394000339 h 285"/>
                <a:gd name="T56" fmla="*/ 454029599 w 230"/>
                <a:gd name="T57" fmla="*/ 207369426 h 285"/>
                <a:gd name="T58" fmla="*/ 454029599 w 230"/>
                <a:gd name="T59" fmla="*/ 165894990 h 285"/>
                <a:gd name="T60" fmla="*/ 330203307 w 230"/>
                <a:gd name="T61" fmla="*/ 41474405 h 285"/>
                <a:gd name="T62" fmla="*/ 371478793 w 230"/>
                <a:gd name="T63" fmla="*/ 0 h 285"/>
                <a:gd name="T64" fmla="*/ 392115183 w 230"/>
                <a:gd name="T65" fmla="*/ 0 h 285"/>
                <a:gd name="T66" fmla="*/ 536577782 w 230"/>
                <a:gd name="T67" fmla="*/ 186630914 h 285"/>
                <a:gd name="T68" fmla="*/ 598492199 w 230"/>
                <a:gd name="T69" fmla="*/ 269579703 h 285"/>
                <a:gd name="T70" fmla="*/ 846144782 w 230"/>
                <a:gd name="T71" fmla="*/ 311054097 h 285"/>
                <a:gd name="T72" fmla="*/ 908056575 w 230"/>
                <a:gd name="T73" fmla="*/ 352525945 h 285"/>
                <a:gd name="T74" fmla="*/ 1066278517 w 230"/>
                <a:gd name="T75" fmla="*/ 663579960 h 285"/>
                <a:gd name="T76" fmla="*/ 1086917530 w 230"/>
                <a:gd name="T77" fmla="*/ 684315843 h 285"/>
                <a:gd name="T78" fmla="*/ 1210741116 w 230"/>
                <a:gd name="T79" fmla="*/ 663579960 h 285"/>
                <a:gd name="T80" fmla="*/ 1293291923 w 230"/>
                <a:gd name="T81" fmla="*/ 601369683 h 285"/>
                <a:gd name="T82" fmla="*/ 1334567326 w 230"/>
                <a:gd name="T83" fmla="*/ 746526284 h 285"/>
                <a:gd name="T84" fmla="*/ 1190104726 w 230"/>
                <a:gd name="T85" fmla="*/ 767264796 h 285"/>
                <a:gd name="T86" fmla="*/ 1148829323 w 230"/>
                <a:gd name="T87" fmla="*/ 850210956 h 285"/>
                <a:gd name="T88" fmla="*/ 1148829323 w 230"/>
                <a:gd name="T89" fmla="*/ 933159745 h 285"/>
                <a:gd name="T90" fmla="*/ 1107553920 w 230"/>
                <a:gd name="T91" fmla="*/ 1036841788 h 285"/>
                <a:gd name="T92" fmla="*/ 1252016520 w 230"/>
                <a:gd name="T93" fmla="*/ 1182000854 h 285"/>
                <a:gd name="T94" fmla="*/ 1334567326 w 230"/>
                <a:gd name="T95" fmla="*/ 1223475248 h 285"/>
                <a:gd name="T96" fmla="*/ 1396482070 w 230"/>
                <a:gd name="T97" fmla="*/ 1285685526 h 285"/>
                <a:gd name="T98" fmla="*/ 1561583683 w 230"/>
                <a:gd name="T99" fmla="*/ 1306421408 h 285"/>
                <a:gd name="T100" fmla="*/ 1582220073 w 230"/>
                <a:gd name="T101" fmla="*/ 1327159920 h 285"/>
                <a:gd name="T102" fmla="*/ 1582220073 w 230"/>
                <a:gd name="T103" fmla="*/ 1368631686 h 285"/>
                <a:gd name="T104" fmla="*/ 1417118460 w 230"/>
                <a:gd name="T105" fmla="*/ 1513791080 h 285"/>
                <a:gd name="T106" fmla="*/ 1437757473 w 230"/>
                <a:gd name="T107" fmla="*/ 1576001358 h 285"/>
                <a:gd name="T108" fmla="*/ 1355206339 w 230"/>
                <a:gd name="T109" fmla="*/ 1617475752 h 285"/>
                <a:gd name="T110" fmla="*/ 1355206339 w 230"/>
                <a:gd name="T111" fmla="*/ 1783370701 h 285"/>
                <a:gd name="T112" fmla="*/ 1128192933 w 230"/>
                <a:gd name="T113" fmla="*/ 1928527138 h 285"/>
                <a:gd name="T114" fmla="*/ 949331978 w 230"/>
                <a:gd name="T115" fmla="*/ 1949265650 h 285"/>
                <a:gd name="T116" fmla="*/ 846144782 w 230"/>
                <a:gd name="T117" fmla="*/ 1824842467 h 285"/>
                <a:gd name="T118" fmla="*/ 804869378 w 230"/>
                <a:gd name="T119" fmla="*/ 1866316861 h 285"/>
                <a:gd name="T120" fmla="*/ 784230365 w 230"/>
                <a:gd name="T121" fmla="*/ 1970001533 h 285"/>
                <a:gd name="T122" fmla="*/ 742954962 w 230"/>
                <a:gd name="T123" fmla="*/ 1970001533 h 28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30"/>
                <a:gd name="T187" fmla="*/ 0 h 285"/>
                <a:gd name="T188" fmla="*/ 230 w 230"/>
                <a:gd name="T189" fmla="*/ 285 h 28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30" h="285">
                  <a:moveTo>
                    <a:pt x="108" y="285"/>
                  </a:moveTo>
                  <a:cubicBezTo>
                    <a:pt x="105" y="285"/>
                    <a:pt x="105" y="285"/>
                    <a:pt x="105" y="282"/>
                  </a:cubicBezTo>
                  <a:cubicBezTo>
                    <a:pt x="105" y="276"/>
                    <a:pt x="105" y="267"/>
                    <a:pt x="105" y="261"/>
                  </a:cubicBezTo>
                  <a:cubicBezTo>
                    <a:pt x="105" y="258"/>
                    <a:pt x="102" y="258"/>
                    <a:pt x="102" y="258"/>
                  </a:cubicBezTo>
                  <a:cubicBezTo>
                    <a:pt x="84" y="258"/>
                    <a:pt x="84" y="255"/>
                    <a:pt x="75" y="270"/>
                  </a:cubicBezTo>
                  <a:cubicBezTo>
                    <a:pt x="75" y="270"/>
                    <a:pt x="72" y="270"/>
                    <a:pt x="72" y="273"/>
                  </a:cubicBezTo>
                  <a:cubicBezTo>
                    <a:pt x="72" y="267"/>
                    <a:pt x="66" y="267"/>
                    <a:pt x="63" y="264"/>
                  </a:cubicBezTo>
                  <a:cubicBezTo>
                    <a:pt x="63" y="261"/>
                    <a:pt x="63" y="261"/>
                    <a:pt x="60" y="258"/>
                  </a:cubicBezTo>
                  <a:cubicBezTo>
                    <a:pt x="60" y="243"/>
                    <a:pt x="54" y="243"/>
                    <a:pt x="51" y="234"/>
                  </a:cubicBezTo>
                  <a:cubicBezTo>
                    <a:pt x="48" y="231"/>
                    <a:pt x="48" y="231"/>
                    <a:pt x="45" y="231"/>
                  </a:cubicBezTo>
                  <a:cubicBezTo>
                    <a:pt x="45" y="222"/>
                    <a:pt x="51" y="222"/>
                    <a:pt x="54" y="216"/>
                  </a:cubicBezTo>
                  <a:cubicBezTo>
                    <a:pt x="54" y="198"/>
                    <a:pt x="36" y="201"/>
                    <a:pt x="30" y="195"/>
                  </a:cubicBezTo>
                  <a:cubicBezTo>
                    <a:pt x="30" y="192"/>
                    <a:pt x="30" y="192"/>
                    <a:pt x="30" y="189"/>
                  </a:cubicBezTo>
                  <a:cubicBezTo>
                    <a:pt x="27" y="189"/>
                    <a:pt x="27" y="186"/>
                    <a:pt x="27" y="186"/>
                  </a:cubicBezTo>
                  <a:cubicBezTo>
                    <a:pt x="27" y="177"/>
                    <a:pt x="36" y="174"/>
                    <a:pt x="42" y="171"/>
                  </a:cubicBezTo>
                  <a:cubicBezTo>
                    <a:pt x="45" y="168"/>
                    <a:pt x="48" y="165"/>
                    <a:pt x="51" y="162"/>
                  </a:cubicBezTo>
                  <a:cubicBezTo>
                    <a:pt x="51" y="147"/>
                    <a:pt x="45" y="132"/>
                    <a:pt x="39" y="126"/>
                  </a:cubicBezTo>
                  <a:cubicBezTo>
                    <a:pt x="33" y="126"/>
                    <a:pt x="30" y="126"/>
                    <a:pt x="27" y="126"/>
                  </a:cubicBezTo>
                  <a:cubicBezTo>
                    <a:pt x="24" y="126"/>
                    <a:pt x="24" y="129"/>
                    <a:pt x="24" y="129"/>
                  </a:cubicBezTo>
                  <a:cubicBezTo>
                    <a:pt x="21" y="129"/>
                    <a:pt x="21" y="129"/>
                    <a:pt x="18" y="129"/>
                  </a:cubicBezTo>
                  <a:cubicBezTo>
                    <a:pt x="12" y="123"/>
                    <a:pt x="12" y="111"/>
                    <a:pt x="9" y="105"/>
                  </a:cubicBezTo>
                  <a:cubicBezTo>
                    <a:pt x="6" y="102"/>
                    <a:pt x="3" y="102"/>
                    <a:pt x="0" y="99"/>
                  </a:cubicBezTo>
                  <a:cubicBezTo>
                    <a:pt x="0" y="87"/>
                    <a:pt x="12" y="81"/>
                    <a:pt x="21" y="72"/>
                  </a:cubicBezTo>
                  <a:cubicBezTo>
                    <a:pt x="24" y="60"/>
                    <a:pt x="21" y="48"/>
                    <a:pt x="21" y="36"/>
                  </a:cubicBezTo>
                  <a:cubicBezTo>
                    <a:pt x="21" y="33"/>
                    <a:pt x="21" y="33"/>
                    <a:pt x="24" y="33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30" y="39"/>
                    <a:pt x="33" y="54"/>
                    <a:pt x="45" y="57"/>
                  </a:cubicBezTo>
                  <a:cubicBezTo>
                    <a:pt x="48" y="57"/>
                    <a:pt x="51" y="57"/>
                    <a:pt x="54" y="57"/>
                  </a:cubicBezTo>
                  <a:cubicBezTo>
                    <a:pt x="63" y="48"/>
                    <a:pt x="60" y="42"/>
                    <a:pt x="66" y="30"/>
                  </a:cubicBezTo>
                  <a:cubicBezTo>
                    <a:pt x="66" y="30"/>
                    <a:pt x="66" y="27"/>
                    <a:pt x="66" y="24"/>
                  </a:cubicBezTo>
                  <a:cubicBezTo>
                    <a:pt x="60" y="18"/>
                    <a:pt x="54" y="12"/>
                    <a:pt x="48" y="6"/>
                  </a:cubicBezTo>
                  <a:cubicBezTo>
                    <a:pt x="48" y="0"/>
                    <a:pt x="51" y="0"/>
                    <a:pt x="54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6" y="6"/>
                    <a:pt x="75" y="15"/>
                    <a:pt x="78" y="27"/>
                  </a:cubicBezTo>
                  <a:cubicBezTo>
                    <a:pt x="81" y="30"/>
                    <a:pt x="84" y="36"/>
                    <a:pt x="87" y="39"/>
                  </a:cubicBezTo>
                  <a:cubicBezTo>
                    <a:pt x="99" y="39"/>
                    <a:pt x="111" y="42"/>
                    <a:pt x="123" y="45"/>
                  </a:cubicBezTo>
                  <a:cubicBezTo>
                    <a:pt x="126" y="48"/>
                    <a:pt x="129" y="48"/>
                    <a:pt x="132" y="51"/>
                  </a:cubicBezTo>
                  <a:cubicBezTo>
                    <a:pt x="138" y="63"/>
                    <a:pt x="140" y="84"/>
                    <a:pt x="155" y="96"/>
                  </a:cubicBezTo>
                  <a:cubicBezTo>
                    <a:pt x="155" y="96"/>
                    <a:pt x="155" y="99"/>
                    <a:pt x="158" y="99"/>
                  </a:cubicBezTo>
                  <a:cubicBezTo>
                    <a:pt x="161" y="99"/>
                    <a:pt x="170" y="99"/>
                    <a:pt x="176" y="96"/>
                  </a:cubicBezTo>
                  <a:cubicBezTo>
                    <a:pt x="179" y="84"/>
                    <a:pt x="176" y="90"/>
                    <a:pt x="188" y="87"/>
                  </a:cubicBezTo>
                  <a:cubicBezTo>
                    <a:pt x="188" y="90"/>
                    <a:pt x="194" y="99"/>
                    <a:pt x="194" y="108"/>
                  </a:cubicBezTo>
                  <a:cubicBezTo>
                    <a:pt x="188" y="111"/>
                    <a:pt x="179" y="111"/>
                    <a:pt x="173" y="111"/>
                  </a:cubicBezTo>
                  <a:cubicBezTo>
                    <a:pt x="170" y="114"/>
                    <a:pt x="167" y="120"/>
                    <a:pt x="167" y="123"/>
                  </a:cubicBezTo>
                  <a:cubicBezTo>
                    <a:pt x="167" y="129"/>
                    <a:pt x="167" y="132"/>
                    <a:pt x="167" y="135"/>
                  </a:cubicBezTo>
                  <a:cubicBezTo>
                    <a:pt x="161" y="141"/>
                    <a:pt x="161" y="141"/>
                    <a:pt x="161" y="150"/>
                  </a:cubicBezTo>
                  <a:cubicBezTo>
                    <a:pt x="167" y="156"/>
                    <a:pt x="176" y="162"/>
                    <a:pt x="182" y="171"/>
                  </a:cubicBezTo>
                  <a:cubicBezTo>
                    <a:pt x="185" y="171"/>
                    <a:pt x="191" y="171"/>
                    <a:pt x="194" y="177"/>
                  </a:cubicBezTo>
                  <a:cubicBezTo>
                    <a:pt x="197" y="180"/>
                    <a:pt x="200" y="183"/>
                    <a:pt x="203" y="186"/>
                  </a:cubicBezTo>
                  <a:cubicBezTo>
                    <a:pt x="209" y="186"/>
                    <a:pt x="218" y="186"/>
                    <a:pt x="227" y="189"/>
                  </a:cubicBezTo>
                  <a:cubicBezTo>
                    <a:pt x="227" y="189"/>
                    <a:pt x="230" y="189"/>
                    <a:pt x="230" y="192"/>
                  </a:cubicBezTo>
                  <a:cubicBezTo>
                    <a:pt x="230" y="195"/>
                    <a:pt x="230" y="195"/>
                    <a:pt x="230" y="198"/>
                  </a:cubicBezTo>
                  <a:cubicBezTo>
                    <a:pt x="221" y="210"/>
                    <a:pt x="206" y="201"/>
                    <a:pt x="206" y="219"/>
                  </a:cubicBezTo>
                  <a:cubicBezTo>
                    <a:pt x="209" y="222"/>
                    <a:pt x="209" y="225"/>
                    <a:pt x="209" y="228"/>
                  </a:cubicBezTo>
                  <a:cubicBezTo>
                    <a:pt x="203" y="231"/>
                    <a:pt x="200" y="234"/>
                    <a:pt x="197" y="234"/>
                  </a:cubicBezTo>
                  <a:cubicBezTo>
                    <a:pt x="197" y="243"/>
                    <a:pt x="197" y="252"/>
                    <a:pt x="197" y="258"/>
                  </a:cubicBezTo>
                  <a:cubicBezTo>
                    <a:pt x="188" y="273"/>
                    <a:pt x="179" y="276"/>
                    <a:pt x="164" y="279"/>
                  </a:cubicBezTo>
                  <a:cubicBezTo>
                    <a:pt x="152" y="282"/>
                    <a:pt x="146" y="285"/>
                    <a:pt x="138" y="282"/>
                  </a:cubicBezTo>
                  <a:cubicBezTo>
                    <a:pt x="129" y="273"/>
                    <a:pt x="129" y="267"/>
                    <a:pt x="123" y="264"/>
                  </a:cubicBezTo>
                  <a:cubicBezTo>
                    <a:pt x="117" y="264"/>
                    <a:pt x="120" y="264"/>
                    <a:pt x="117" y="270"/>
                  </a:cubicBezTo>
                  <a:cubicBezTo>
                    <a:pt x="114" y="276"/>
                    <a:pt x="114" y="279"/>
                    <a:pt x="114" y="285"/>
                  </a:cubicBezTo>
                  <a:cubicBezTo>
                    <a:pt x="111" y="285"/>
                    <a:pt x="108" y="285"/>
                    <a:pt x="108" y="285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9" name="Freeform 31"/>
            <p:cNvSpPr>
              <a:spLocks/>
            </p:cNvSpPr>
            <p:nvPr/>
          </p:nvSpPr>
          <p:spPr bwMode="auto">
            <a:xfrm>
              <a:off x="7618055" y="2567756"/>
              <a:ext cx="160810" cy="155394"/>
            </a:xfrm>
            <a:custGeom>
              <a:avLst/>
              <a:gdLst>
                <a:gd name="T0" fmla="*/ 1193526160 w 275"/>
                <a:gd name="T1" fmla="*/ 1856664263 h 270"/>
                <a:gd name="T2" fmla="*/ 1090041079 w 275"/>
                <a:gd name="T3" fmla="*/ 1836034522 h 270"/>
                <a:gd name="T4" fmla="*/ 1090041079 w 275"/>
                <a:gd name="T5" fmla="*/ 1794775039 h 270"/>
                <a:gd name="T6" fmla="*/ 1214221075 w 275"/>
                <a:gd name="T7" fmla="*/ 1712256074 h 270"/>
                <a:gd name="T8" fmla="*/ 1234918617 w 275"/>
                <a:gd name="T9" fmla="*/ 1670996591 h 270"/>
                <a:gd name="T10" fmla="*/ 1048645996 w 275"/>
                <a:gd name="T11" fmla="*/ 1526591024 h 270"/>
                <a:gd name="T12" fmla="*/ 965858457 w 275"/>
                <a:gd name="T13" fmla="*/ 1464701800 h 270"/>
                <a:gd name="T14" fmla="*/ 820978293 w 275"/>
                <a:gd name="T15" fmla="*/ 1361552766 h 270"/>
                <a:gd name="T16" fmla="*/ 758888295 w 275"/>
                <a:gd name="T17" fmla="*/ 1279033800 h 270"/>
                <a:gd name="T18" fmla="*/ 800283378 w 275"/>
                <a:gd name="T19" fmla="*/ 1155257975 h 270"/>
                <a:gd name="T20" fmla="*/ 820978293 w 275"/>
                <a:gd name="T21" fmla="*/ 1093368751 h 270"/>
                <a:gd name="T22" fmla="*/ 986555999 w 275"/>
                <a:gd name="T23" fmla="*/ 1052109268 h 270"/>
                <a:gd name="T24" fmla="*/ 924463374 w 275"/>
                <a:gd name="T25" fmla="*/ 866444219 h 270"/>
                <a:gd name="T26" fmla="*/ 800283378 w 275"/>
                <a:gd name="T27" fmla="*/ 866444219 h 270"/>
                <a:gd name="T28" fmla="*/ 800283378 w 275"/>
                <a:gd name="T29" fmla="*/ 928333443 h 270"/>
                <a:gd name="T30" fmla="*/ 717495839 w 275"/>
                <a:gd name="T31" fmla="*/ 948960562 h 270"/>
                <a:gd name="T32" fmla="*/ 655403050 w 275"/>
                <a:gd name="T33" fmla="*/ 887073960 h 270"/>
                <a:gd name="T34" fmla="*/ 517422942 w 275"/>
                <a:gd name="T35" fmla="*/ 598257418 h 270"/>
                <a:gd name="T36" fmla="*/ 351847863 w 275"/>
                <a:gd name="T37" fmla="*/ 556997935 h 270"/>
                <a:gd name="T38" fmla="*/ 227667785 w 275"/>
                <a:gd name="T39" fmla="*/ 515741075 h 270"/>
                <a:gd name="T40" fmla="*/ 206970244 w 275"/>
                <a:gd name="T41" fmla="*/ 474481592 h 270"/>
                <a:gd name="T42" fmla="*/ 20697547 w 275"/>
                <a:gd name="T43" fmla="*/ 247554355 h 270"/>
                <a:gd name="T44" fmla="*/ 82787560 w 275"/>
                <a:gd name="T45" fmla="*/ 144408230 h 270"/>
                <a:gd name="T46" fmla="*/ 124182663 w 275"/>
                <a:gd name="T47" fmla="*/ 185665132 h 270"/>
                <a:gd name="T48" fmla="*/ 124182663 w 275"/>
                <a:gd name="T49" fmla="*/ 206294873 h 270"/>
                <a:gd name="T50" fmla="*/ 227667785 w 275"/>
                <a:gd name="T51" fmla="*/ 309443579 h 270"/>
                <a:gd name="T52" fmla="*/ 413940488 w 275"/>
                <a:gd name="T53" fmla="*/ 350703144 h 270"/>
                <a:gd name="T54" fmla="*/ 572615511 w 275"/>
                <a:gd name="T55" fmla="*/ 268184097 h 270"/>
                <a:gd name="T56" fmla="*/ 634708135 w 275"/>
                <a:gd name="T57" fmla="*/ 268184097 h 270"/>
                <a:gd name="T58" fmla="*/ 717495839 w 275"/>
                <a:gd name="T59" fmla="*/ 185665132 h 270"/>
                <a:gd name="T60" fmla="*/ 841675835 w 275"/>
                <a:gd name="T61" fmla="*/ 0 h 270"/>
                <a:gd name="T62" fmla="*/ 841675835 w 275"/>
                <a:gd name="T63" fmla="*/ 103148748 h 270"/>
                <a:gd name="T64" fmla="*/ 945160916 w 275"/>
                <a:gd name="T65" fmla="*/ 185665132 h 270"/>
                <a:gd name="T66" fmla="*/ 1193526160 w 275"/>
                <a:gd name="T67" fmla="*/ 309443579 h 270"/>
                <a:gd name="T68" fmla="*/ 1441889107 w 275"/>
                <a:gd name="T69" fmla="*/ 763295512 h 270"/>
                <a:gd name="T70" fmla="*/ 1524676646 w 275"/>
                <a:gd name="T71" fmla="*/ 948960562 h 270"/>
                <a:gd name="T72" fmla="*/ 1835131889 w 275"/>
                <a:gd name="T73" fmla="*/ 1134628234 h 270"/>
                <a:gd name="T74" fmla="*/ 1835131889 w 275"/>
                <a:gd name="T75" fmla="*/ 1175887716 h 270"/>
                <a:gd name="T76" fmla="*/ 1648859269 w 275"/>
                <a:gd name="T77" fmla="*/ 1175887716 h 270"/>
                <a:gd name="T78" fmla="*/ 1648859269 w 275"/>
                <a:gd name="T79" fmla="*/ 1258406681 h 270"/>
                <a:gd name="T80" fmla="*/ 1752341723 w 275"/>
                <a:gd name="T81" fmla="*/ 1299663542 h 270"/>
                <a:gd name="T82" fmla="*/ 1752341723 w 275"/>
                <a:gd name="T83" fmla="*/ 1382182835 h 270"/>
                <a:gd name="T84" fmla="*/ 1897221887 w 275"/>
                <a:gd name="T85" fmla="*/ 1444072059 h 270"/>
                <a:gd name="T86" fmla="*/ 1897221887 w 275"/>
                <a:gd name="T87" fmla="*/ 1464701800 h 270"/>
                <a:gd name="T88" fmla="*/ 1752341723 w 275"/>
                <a:gd name="T89" fmla="*/ 1609109989 h 270"/>
                <a:gd name="T90" fmla="*/ 1752341723 w 275"/>
                <a:gd name="T91" fmla="*/ 1629737108 h 270"/>
                <a:gd name="T92" fmla="*/ 1586766644 w 275"/>
                <a:gd name="T93" fmla="*/ 1774145298 h 270"/>
                <a:gd name="T94" fmla="*/ 1462586648 w 275"/>
                <a:gd name="T95" fmla="*/ 1815404780 h 270"/>
                <a:gd name="T96" fmla="*/ 1462586648 w 275"/>
                <a:gd name="T97" fmla="*/ 1836034522 h 270"/>
                <a:gd name="T98" fmla="*/ 1276313700 w 275"/>
                <a:gd name="T99" fmla="*/ 1815404780 h 270"/>
                <a:gd name="T100" fmla="*/ 1193526160 w 275"/>
                <a:gd name="T101" fmla="*/ 1856664263 h 27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5"/>
                <a:gd name="T154" fmla="*/ 0 h 270"/>
                <a:gd name="T155" fmla="*/ 275 w 275"/>
                <a:gd name="T156" fmla="*/ 270 h 27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5" h="270">
                  <a:moveTo>
                    <a:pt x="173" y="270"/>
                  </a:moveTo>
                  <a:cubicBezTo>
                    <a:pt x="164" y="267"/>
                    <a:pt x="161" y="267"/>
                    <a:pt x="158" y="267"/>
                  </a:cubicBezTo>
                  <a:cubicBezTo>
                    <a:pt x="158" y="264"/>
                    <a:pt x="158" y="264"/>
                    <a:pt x="158" y="261"/>
                  </a:cubicBezTo>
                  <a:cubicBezTo>
                    <a:pt x="146" y="258"/>
                    <a:pt x="173" y="249"/>
                    <a:pt x="176" y="249"/>
                  </a:cubicBezTo>
                  <a:cubicBezTo>
                    <a:pt x="176" y="246"/>
                    <a:pt x="179" y="246"/>
                    <a:pt x="179" y="243"/>
                  </a:cubicBezTo>
                  <a:cubicBezTo>
                    <a:pt x="179" y="219"/>
                    <a:pt x="164" y="225"/>
                    <a:pt x="152" y="222"/>
                  </a:cubicBezTo>
                  <a:cubicBezTo>
                    <a:pt x="143" y="222"/>
                    <a:pt x="140" y="213"/>
                    <a:pt x="140" y="213"/>
                  </a:cubicBezTo>
                  <a:cubicBezTo>
                    <a:pt x="128" y="207"/>
                    <a:pt x="122" y="204"/>
                    <a:pt x="119" y="198"/>
                  </a:cubicBezTo>
                  <a:cubicBezTo>
                    <a:pt x="110" y="192"/>
                    <a:pt x="110" y="189"/>
                    <a:pt x="110" y="186"/>
                  </a:cubicBezTo>
                  <a:cubicBezTo>
                    <a:pt x="116" y="180"/>
                    <a:pt x="116" y="174"/>
                    <a:pt x="116" y="168"/>
                  </a:cubicBezTo>
                  <a:cubicBezTo>
                    <a:pt x="116" y="165"/>
                    <a:pt x="116" y="162"/>
                    <a:pt x="119" y="159"/>
                  </a:cubicBezTo>
                  <a:cubicBezTo>
                    <a:pt x="125" y="159"/>
                    <a:pt x="134" y="162"/>
                    <a:pt x="143" y="153"/>
                  </a:cubicBezTo>
                  <a:cubicBezTo>
                    <a:pt x="143" y="141"/>
                    <a:pt x="140" y="129"/>
                    <a:pt x="134" y="126"/>
                  </a:cubicBezTo>
                  <a:cubicBezTo>
                    <a:pt x="125" y="126"/>
                    <a:pt x="122" y="126"/>
                    <a:pt x="116" y="126"/>
                  </a:cubicBezTo>
                  <a:cubicBezTo>
                    <a:pt x="116" y="129"/>
                    <a:pt x="116" y="132"/>
                    <a:pt x="116" y="135"/>
                  </a:cubicBezTo>
                  <a:cubicBezTo>
                    <a:pt x="113" y="135"/>
                    <a:pt x="107" y="135"/>
                    <a:pt x="104" y="138"/>
                  </a:cubicBezTo>
                  <a:cubicBezTo>
                    <a:pt x="101" y="132"/>
                    <a:pt x="101" y="132"/>
                    <a:pt x="95" y="129"/>
                  </a:cubicBezTo>
                  <a:cubicBezTo>
                    <a:pt x="86" y="111"/>
                    <a:pt x="83" y="96"/>
                    <a:pt x="75" y="87"/>
                  </a:cubicBezTo>
                  <a:cubicBezTo>
                    <a:pt x="66" y="81"/>
                    <a:pt x="57" y="81"/>
                    <a:pt x="51" y="81"/>
                  </a:cubicBezTo>
                  <a:cubicBezTo>
                    <a:pt x="45" y="78"/>
                    <a:pt x="39" y="75"/>
                    <a:pt x="33" y="75"/>
                  </a:cubicBezTo>
                  <a:cubicBezTo>
                    <a:pt x="30" y="72"/>
                    <a:pt x="30" y="72"/>
                    <a:pt x="30" y="69"/>
                  </a:cubicBezTo>
                  <a:cubicBezTo>
                    <a:pt x="24" y="57"/>
                    <a:pt x="12" y="42"/>
                    <a:pt x="3" y="36"/>
                  </a:cubicBezTo>
                  <a:cubicBezTo>
                    <a:pt x="3" y="27"/>
                    <a:pt x="0" y="15"/>
                    <a:pt x="12" y="21"/>
                  </a:cubicBezTo>
                  <a:cubicBezTo>
                    <a:pt x="15" y="24"/>
                    <a:pt x="15" y="27"/>
                    <a:pt x="18" y="27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4" y="33"/>
                    <a:pt x="27" y="36"/>
                    <a:pt x="33" y="45"/>
                  </a:cubicBezTo>
                  <a:cubicBezTo>
                    <a:pt x="39" y="48"/>
                    <a:pt x="48" y="51"/>
                    <a:pt x="60" y="51"/>
                  </a:cubicBezTo>
                  <a:cubicBezTo>
                    <a:pt x="69" y="48"/>
                    <a:pt x="75" y="24"/>
                    <a:pt x="83" y="39"/>
                  </a:cubicBezTo>
                  <a:cubicBezTo>
                    <a:pt x="86" y="39"/>
                    <a:pt x="89" y="39"/>
                    <a:pt x="92" y="39"/>
                  </a:cubicBezTo>
                  <a:cubicBezTo>
                    <a:pt x="95" y="36"/>
                    <a:pt x="98" y="30"/>
                    <a:pt x="104" y="27"/>
                  </a:cubicBezTo>
                  <a:cubicBezTo>
                    <a:pt x="104" y="15"/>
                    <a:pt x="107" y="0"/>
                    <a:pt x="122" y="0"/>
                  </a:cubicBezTo>
                  <a:cubicBezTo>
                    <a:pt x="122" y="6"/>
                    <a:pt x="122" y="9"/>
                    <a:pt x="122" y="15"/>
                  </a:cubicBezTo>
                  <a:cubicBezTo>
                    <a:pt x="128" y="18"/>
                    <a:pt x="131" y="24"/>
                    <a:pt x="137" y="27"/>
                  </a:cubicBezTo>
                  <a:cubicBezTo>
                    <a:pt x="146" y="30"/>
                    <a:pt x="158" y="39"/>
                    <a:pt x="173" y="45"/>
                  </a:cubicBezTo>
                  <a:cubicBezTo>
                    <a:pt x="182" y="66"/>
                    <a:pt x="194" y="87"/>
                    <a:pt x="209" y="111"/>
                  </a:cubicBezTo>
                  <a:cubicBezTo>
                    <a:pt x="209" y="117"/>
                    <a:pt x="212" y="129"/>
                    <a:pt x="221" y="138"/>
                  </a:cubicBezTo>
                  <a:cubicBezTo>
                    <a:pt x="236" y="147"/>
                    <a:pt x="248" y="153"/>
                    <a:pt x="266" y="165"/>
                  </a:cubicBezTo>
                  <a:cubicBezTo>
                    <a:pt x="266" y="168"/>
                    <a:pt x="266" y="168"/>
                    <a:pt x="266" y="171"/>
                  </a:cubicBezTo>
                  <a:cubicBezTo>
                    <a:pt x="263" y="174"/>
                    <a:pt x="239" y="171"/>
                    <a:pt x="239" y="171"/>
                  </a:cubicBezTo>
                  <a:cubicBezTo>
                    <a:pt x="239" y="174"/>
                    <a:pt x="239" y="177"/>
                    <a:pt x="239" y="183"/>
                  </a:cubicBezTo>
                  <a:cubicBezTo>
                    <a:pt x="242" y="183"/>
                    <a:pt x="248" y="186"/>
                    <a:pt x="254" y="189"/>
                  </a:cubicBezTo>
                  <a:cubicBezTo>
                    <a:pt x="254" y="192"/>
                    <a:pt x="251" y="195"/>
                    <a:pt x="254" y="201"/>
                  </a:cubicBezTo>
                  <a:cubicBezTo>
                    <a:pt x="260" y="204"/>
                    <a:pt x="266" y="207"/>
                    <a:pt x="275" y="210"/>
                  </a:cubicBezTo>
                  <a:cubicBezTo>
                    <a:pt x="275" y="213"/>
                    <a:pt x="275" y="213"/>
                    <a:pt x="275" y="213"/>
                  </a:cubicBezTo>
                  <a:cubicBezTo>
                    <a:pt x="275" y="225"/>
                    <a:pt x="263" y="228"/>
                    <a:pt x="254" y="234"/>
                  </a:cubicBezTo>
                  <a:cubicBezTo>
                    <a:pt x="254" y="237"/>
                    <a:pt x="254" y="237"/>
                    <a:pt x="254" y="237"/>
                  </a:cubicBezTo>
                  <a:cubicBezTo>
                    <a:pt x="251" y="237"/>
                    <a:pt x="233" y="255"/>
                    <a:pt x="230" y="258"/>
                  </a:cubicBezTo>
                  <a:cubicBezTo>
                    <a:pt x="224" y="261"/>
                    <a:pt x="218" y="261"/>
                    <a:pt x="212" y="264"/>
                  </a:cubicBezTo>
                  <a:cubicBezTo>
                    <a:pt x="212" y="267"/>
                    <a:pt x="212" y="267"/>
                    <a:pt x="212" y="267"/>
                  </a:cubicBezTo>
                  <a:cubicBezTo>
                    <a:pt x="203" y="267"/>
                    <a:pt x="194" y="267"/>
                    <a:pt x="185" y="264"/>
                  </a:cubicBezTo>
                  <a:cubicBezTo>
                    <a:pt x="182" y="267"/>
                    <a:pt x="179" y="270"/>
                    <a:pt x="173" y="270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40" name="Freeform 12"/>
            <p:cNvSpPr>
              <a:spLocks/>
            </p:cNvSpPr>
            <p:nvPr/>
          </p:nvSpPr>
          <p:spPr bwMode="auto">
            <a:xfrm>
              <a:off x="7118307" y="1975099"/>
              <a:ext cx="635819" cy="537258"/>
            </a:xfrm>
            <a:custGeom>
              <a:avLst/>
              <a:gdLst>
                <a:gd name="T0" fmla="*/ 1853463737 w 1088"/>
                <a:gd name="T1" fmla="*/ 2147483647 h 932"/>
                <a:gd name="T2" fmla="*/ 1729441571 w 1088"/>
                <a:gd name="T3" fmla="*/ 2147483647 h 932"/>
                <a:gd name="T4" fmla="*/ 1192004856 w 1088"/>
                <a:gd name="T5" fmla="*/ 2147483647 h 932"/>
                <a:gd name="T6" fmla="*/ 654568305 w 1088"/>
                <a:gd name="T7" fmla="*/ 2147483647 h 932"/>
                <a:gd name="T8" fmla="*/ 737250788 w 1088"/>
                <a:gd name="T9" fmla="*/ 2147483647 h 932"/>
                <a:gd name="T10" fmla="*/ 165364679 w 1088"/>
                <a:gd name="T11" fmla="*/ 2147483647 h 932"/>
                <a:gd name="T12" fmla="*/ 0 w 1088"/>
                <a:gd name="T13" fmla="*/ 2147483647 h 932"/>
                <a:gd name="T14" fmla="*/ 1171333620 w 1088"/>
                <a:gd name="T15" fmla="*/ 2147483647 h 932"/>
                <a:gd name="T16" fmla="*/ 1688099099 w 1088"/>
                <a:gd name="T17" fmla="*/ 2147483647 h 932"/>
                <a:gd name="T18" fmla="*/ 2147483647 w 1088"/>
                <a:gd name="T19" fmla="*/ 2147483647 h 932"/>
                <a:gd name="T20" fmla="*/ 2147483647 w 1088"/>
                <a:gd name="T21" fmla="*/ 2147483647 h 932"/>
                <a:gd name="T22" fmla="*/ 2147483647 w 1088"/>
                <a:gd name="T23" fmla="*/ 2147483647 h 932"/>
                <a:gd name="T24" fmla="*/ 2147483647 w 1088"/>
                <a:gd name="T25" fmla="*/ 2147483647 h 932"/>
                <a:gd name="T26" fmla="*/ 2147483647 w 1088"/>
                <a:gd name="T27" fmla="*/ 2147483647 h 932"/>
                <a:gd name="T28" fmla="*/ 2147483647 w 1088"/>
                <a:gd name="T29" fmla="*/ 2147483647 h 932"/>
                <a:gd name="T30" fmla="*/ 2147483647 w 1088"/>
                <a:gd name="T31" fmla="*/ 2147483647 h 932"/>
                <a:gd name="T32" fmla="*/ 2147483647 w 1088"/>
                <a:gd name="T33" fmla="*/ 2028205796 h 932"/>
                <a:gd name="T34" fmla="*/ 2147483647 w 1088"/>
                <a:gd name="T35" fmla="*/ 2147483647 h 932"/>
                <a:gd name="T36" fmla="*/ 2147483647 w 1088"/>
                <a:gd name="T37" fmla="*/ 2110988714 h 932"/>
                <a:gd name="T38" fmla="*/ 2147483647 w 1088"/>
                <a:gd name="T39" fmla="*/ 1469414530 h 932"/>
                <a:gd name="T40" fmla="*/ 2147483647 w 1088"/>
                <a:gd name="T41" fmla="*/ 827837392 h 932"/>
                <a:gd name="T42" fmla="*/ 2147483647 w 1088"/>
                <a:gd name="T43" fmla="*/ 289742923 h 932"/>
                <a:gd name="T44" fmla="*/ 2147483647 w 1088"/>
                <a:gd name="T45" fmla="*/ 41391469 h 932"/>
                <a:gd name="T46" fmla="*/ 2147483647 w 1088"/>
                <a:gd name="T47" fmla="*/ 393222966 h 932"/>
                <a:gd name="T48" fmla="*/ 2147483647 w 1088"/>
                <a:gd name="T49" fmla="*/ 600182889 h 932"/>
                <a:gd name="T50" fmla="*/ 2147483647 w 1088"/>
                <a:gd name="T51" fmla="*/ 496702928 h 932"/>
                <a:gd name="T52" fmla="*/ 2147483647 w 1088"/>
                <a:gd name="T53" fmla="*/ 1262454280 h 932"/>
                <a:gd name="T54" fmla="*/ 2147483647 w 1088"/>
                <a:gd name="T55" fmla="*/ 1634980367 h 932"/>
                <a:gd name="T56" fmla="*/ 2147483647 w 1088"/>
                <a:gd name="T57" fmla="*/ 2090291671 h 932"/>
                <a:gd name="T58" fmla="*/ 2147483647 w 1088"/>
                <a:gd name="T59" fmla="*/ 2147483647 h 932"/>
                <a:gd name="T60" fmla="*/ 2147483647 w 1088"/>
                <a:gd name="T61" fmla="*/ 2147483647 h 932"/>
                <a:gd name="T62" fmla="*/ 2147483647 w 1088"/>
                <a:gd name="T63" fmla="*/ 2147483647 h 932"/>
                <a:gd name="T64" fmla="*/ 2147483647 w 1088"/>
                <a:gd name="T65" fmla="*/ 2147483647 h 932"/>
                <a:gd name="T66" fmla="*/ 2147483647 w 1088"/>
                <a:gd name="T67" fmla="*/ 2147483647 h 932"/>
                <a:gd name="T68" fmla="*/ 2147483647 w 1088"/>
                <a:gd name="T69" fmla="*/ 2147483647 h 932"/>
                <a:gd name="T70" fmla="*/ 2147483647 w 1088"/>
                <a:gd name="T71" fmla="*/ 2147483647 h 932"/>
                <a:gd name="T72" fmla="*/ 2147483647 w 1088"/>
                <a:gd name="T73" fmla="*/ 2147483647 h 932"/>
                <a:gd name="T74" fmla="*/ 2147483647 w 1088"/>
                <a:gd name="T75" fmla="*/ 2147483647 h 932"/>
                <a:gd name="T76" fmla="*/ 2147483647 w 1088"/>
                <a:gd name="T77" fmla="*/ 2147483647 h 932"/>
                <a:gd name="T78" fmla="*/ 2147483647 w 1088"/>
                <a:gd name="T79" fmla="*/ 2147483647 h 932"/>
                <a:gd name="T80" fmla="*/ 2147483647 w 1088"/>
                <a:gd name="T81" fmla="*/ 2147483647 h 932"/>
                <a:gd name="T82" fmla="*/ 2147483647 w 1088"/>
                <a:gd name="T83" fmla="*/ 2147483647 h 932"/>
                <a:gd name="T84" fmla="*/ 2147483647 w 1088"/>
                <a:gd name="T85" fmla="*/ 2147483647 h 932"/>
                <a:gd name="T86" fmla="*/ 2147483647 w 1088"/>
                <a:gd name="T87" fmla="*/ 2147483647 h 932"/>
                <a:gd name="T88" fmla="*/ 2147483647 w 1088"/>
                <a:gd name="T89" fmla="*/ 2147483647 h 932"/>
                <a:gd name="T90" fmla="*/ 2147483647 w 1088"/>
                <a:gd name="T91" fmla="*/ 2147483647 h 932"/>
                <a:gd name="T92" fmla="*/ 2147483647 w 1088"/>
                <a:gd name="T93" fmla="*/ 2147483647 h 932"/>
                <a:gd name="T94" fmla="*/ 2147483647 w 1088"/>
                <a:gd name="T95" fmla="*/ 2147483647 h 932"/>
                <a:gd name="T96" fmla="*/ 2147483647 w 1088"/>
                <a:gd name="T97" fmla="*/ 2147483647 h 932"/>
                <a:gd name="T98" fmla="*/ 2147483647 w 1088"/>
                <a:gd name="T99" fmla="*/ 2147483647 h 93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088"/>
                <a:gd name="T151" fmla="*/ 0 h 932"/>
                <a:gd name="T152" fmla="*/ 1088 w 1088"/>
                <a:gd name="T153" fmla="*/ 932 h 93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088" h="932">
                  <a:moveTo>
                    <a:pt x="278" y="932"/>
                  </a:moveTo>
                  <a:cubicBezTo>
                    <a:pt x="272" y="926"/>
                    <a:pt x="266" y="920"/>
                    <a:pt x="260" y="914"/>
                  </a:cubicBezTo>
                  <a:cubicBezTo>
                    <a:pt x="254" y="908"/>
                    <a:pt x="251" y="902"/>
                    <a:pt x="248" y="893"/>
                  </a:cubicBezTo>
                  <a:cubicBezTo>
                    <a:pt x="248" y="872"/>
                    <a:pt x="251" y="866"/>
                    <a:pt x="269" y="854"/>
                  </a:cubicBezTo>
                  <a:cubicBezTo>
                    <a:pt x="272" y="851"/>
                    <a:pt x="275" y="851"/>
                    <a:pt x="278" y="848"/>
                  </a:cubicBezTo>
                  <a:cubicBezTo>
                    <a:pt x="281" y="842"/>
                    <a:pt x="281" y="839"/>
                    <a:pt x="284" y="836"/>
                  </a:cubicBezTo>
                  <a:cubicBezTo>
                    <a:pt x="284" y="833"/>
                    <a:pt x="284" y="830"/>
                    <a:pt x="284" y="827"/>
                  </a:cubicBezTo>
                  <a:cubicBezTo>
                    <a:pt x="275" y="809"/>
                    <a:pt x="266" y="812"/>
                    <a:pt x="251" y="818"/>
                  </a:cubicBezTo>
                  <a:cubicBezTo>
                    <a:pt x="248" y="821"/>
                    <a:pt x="245" y="824"/>
                    <a:pt x="239" y="827"/>
                  </a:cubicBezTo>
                  <a:cubicBezTo>
                    <a:pt x="236" y="830"/>
                    <a:pt x="230" y="833"/>
                    <a:pt x="224" y="836"/>
                  </a:cubicBezTo>
                  <a:cubicBezTo>
                    <a:pt x="218" y="830"/>
                    <a:pt x="215" y="830"/>
                    <a:pt x="212" y="827"/>
                  </a:cubicBezTo>
                  <a:cubicBezTo>
                    <a:pt x="176" y="827"/>
                    <a:pt x="176" y="824"/>
                    <a:pt x="173" y="860"/>
                  </a:cubicBezTo>
                  <a:cubicBezTo>
                    <a:pt x="167" y="866"/>
                    <a:pt x="155" y="857"/>
                    <a:pt x="152" y="857"/>
                  </a:cubicBezTo>
                  <a:cubicBezTo>
                    <a:pt x="146" y="848"/>
                    <a:pt x="137" y="839"/>
                    <a:pt x="134" y="836"/>
                  </a:cubicBezTo>
                  <a:cubicBezTo>
                    <a:pt x="128" y="821"/>
                    <a:pt x="125" y="812"/>
                    <a:pt x="113" y="809"/>
                  </a:cubicBezTo>
                  <a:cubicBezTo>
                    <a:pt x="107" y="803"/>
                    <a:pt x="101" y="797"/>
                    <a:pt x="95" y="788"/>
                  </a:cubicBezTo>
                  <a:cubicBezTo>
                    <a:pt x="92" y="788"/>
                    <a:pt x="86" y="788"/>
                    <a:pt x="83" y="788"/>
                  </a:cubicBezTo>
                  <a:cubicBezTo>
                    <a:pt x="83" y="773"/>
                    <a:pt x="98" y="773"/>
                    <a:pt x="104" y="761"/>
                  </a:cubicBezTo>
                  <a:cubicBezTo>
                    <a:pt x="107" y="755"/>
                    <a:pt x="110" y="752"/>
                    <a:pt x="113" y="746"/>
                  </a:cubicBezTo>
                  <a:cubicBezTo>
                    <a:pt x="113" y="737"/>
                    <a:pt x="110" y="734"/>
                    <a:pt x="107" y="731"/>
                  </a:cubicBezTo>
                  <a:cubicBezTo>
                    <a:pt x="86" y="731"/>
                    <a:pt x="63" y="734"/>
                    <a:pt x="45" y="740"/>
                  </a:cubicBezTo>
                  <a:cubicBezTo>
                    <a:pt x="39" y="746"/>
                    <a:pt x="39" y="746"/>
                    <a:pt x="33" y="746"/>
                  </a:cubicBezTo>
                  <a:cubicBezTo>
                    <a:pt x="33" y="737"/>
                    <a:pt x="33" y="731"/>
                    <a:pt x="33" y="723"/>
                  </a:cubicBezTo>
                  <a:cubicBezTo>
                    <a:pt x="30" y="720"/>
                    <a:pt x="27" y="717"/>
                    <a:pt x="24" y="714"/>
                  </a:cubicBezTo>
                  <a:cubicBezTo>
                    <a:pt x="18" y="708"/>
                    <a:pt x="12" y="702"/>
                    <a:pt x="6" y="699"/>
                  </a:cubicBezTo>
                  <a:cubicBezTo>
                    <a:pt x="6" y="690"/>
                    <a:pt x="9" y="687"/>
                    <a:pt x="12" y="678"/>
                  </a:cubicBezTo>
                  <a:cubicBezTo>
                    <a:pt x="12" y="666"/>
                    <a:pt x="12" y="660"/>
                    <a:pt x="12" y="651"/>
                  </a:cubicBezTo>
                  <a:cubicBezTo>
                    <a:pt x="6" y="648"/>
                    <a:pt x="3" y="642"/>
                    <a:pt x="0" y="639"/>
                  </a:cubicBezTo>
                  <a:cubicBezTo>
                    <a:pt x="0" y="633"/>
                    <a:pt x="0" y="627"/>
                    <a:pt x="0" y="621"/>
                  </a:cubicBezTo>
                  <a:cubicBezTo>
                    <a:pt x="18" y="627"/>
                    <a:pt x="33" y="630"/>
                    <a:pt x="51" y="633"/>
                  </a:cubicBezTo>
                  <a:cubicBezTo>
                    <a:pt x="77" y="633"/>
                    <a:pt x="107" y="633"/>
                    <a:pt x="137" y="633"/>
                  </a:cubicBezTo>
                  <a:cubicBezTo>
                    <a:pt x="143" y="636"/>
                    <a:pt x="161" y="639"/>
                    <a:pt x="170" y="645"/>
                  </a:cubicBezTo>
                  <a:cubicBezTo>
                    <a:pt x="179" y="651"/>
                    <a:pt x="188" y="660"/>
                    <a:pt x="200" y="666"/>
                  </a:cubicBezTo>
                  <a:cubicBezTo>
                    <a:pt x="200" y="669"/>
                    <a:pt x="203" y="669"/>
                    <a:pt x="206" y="672"/>
                  </a:cubicBezTo>
                  <a:cubicBezTo>
                    <a:pt x="215" y="672"/>
                    <a:pt x="224" y="672"/>
                    <a:pt x="233" y="675"/>
                  </a:cubicBezTo>
                  <a:cubicBezTo>
                    <a:pt x="236" y="678"/>
                    <a:pt x="239" y="681"/>
                    <a:pt x="245" y="684"/>
                  </a:cubicBezTo>
                  <a:cubicBezTo>
                    <a:pt x="254" y="687"/>
                    <a:pt x="266" y="690"/>
                    <a:pt x="278" y="693"/>
                  </a:cubicBezTo>
                  <a:cubicBezTo>
                    <a:pt x="287" y="696"/>
                    <a:pt x="296" y="717"/>
                    <a:pt x="314" y="705"/>
                  </a:cubicBezTo>
                  <a:cubicBezTo>
                    <a:pt x="320" y="696"/>
                    <a:pt x="329" y="693"/>
                    <a:pt x="341" y="690"/>
                  </a:cubicBezTo>
                  <a:cubicBezTo>
                    <a:pt x="350" y="681"/>
                    <a:pt x="356" y="678"/>
                    <a:pt x="370" y="675"/>
                  </a:cubicBezTo>
                  <a:cubicBezTo>
                    <a:pt x="370" y="669"/>
                    <a:pt x="382" y="669"/>
                    <a:pt x="388" y="666"/>
                  </a:cubicBezTo>
                  <a:cubicBezTo>
                    <a:pt x="397" y="663"/>
                    <a:pt x="406" y="654"/>
                    <a:pt x="415" y="651"/>
                  </a:cubicBezTo>
                  <a:cubicBezTo>
                    <a:pt x="424" y="648"/>
                    <a:pt x="433" y="648"/>
                    <a:pt x="445" y="648"/>
                  </a:cubicBezTo>
                  <a:cubicBezTo>
                    <a:pt x="457" y="651"/>
                    <a:pt x="493" y="660"/>
                    <a:pt x="505" y="648"/>
                  </a:cubicBezTo>
                  <a:cubicBezTo>
                    <a:pt x="529" y="645"/>
                    <a:pt x="544" y="624"/>
                    <a:pt x="559" y="606"/>
                  </a:cubicBezTo>
                  <a:cubicBezTo>
                    <a:pt x="565" y="600"/>
                    <a:pt x="571" y="597"/>
                    <a:pt x="577" y="591"/>
                  </a:cubicBezTo>
                  <a:cubicBezTo>
                    <a:pt x="580" y="588"/>
                    <a:pt x="586" y="582"/>
                    <a:pt x="592" y="579"/>
                  </a:cubicBezTo>
                  <a:cubicBezTo>
                    <a:pt x="595" y="576"/>
                    <a:pt x="601" y="573"/>
                    <a:pt x="607" y="570"/>
                  </a:cubicBezTo>
                  <a:cubicBezTo>
                    <a:pt x="607" y="564"/>
                    <a:pt x="607" y="561"/>
                    <a:pt x="607" y="555"/>
                  </a:cubicBezTo>
                  <a:cubicBezTo>
                    <a:pt x="601" y="549"/>
                    <a:pt x="595" y="546"/>
                    <a:pt x="589" y="540"/>
                  </a:cubicBezTo>
                  <a:cubicBezTo>
                    <a:pt x="589" y="537"/>
                    <a:pt x="586" y="531"/>
                    <a:pt x="586" y="528"/>
                  </a:cubicBezTo>
                  <a:cubicBezTo>
                    <a:pt x="589" y="510"/>
                    <a:pt x="586" y="498"/>
                    <a:pt x="604" y="489"/>
                  </a:cubicBezTo>
                  <a:cubicBezTo>
                    <a:pt x="604" y="483"/>
                    <a:pt x="616" y="492"/>
                    <a:pt x="628" y="504"/>
                  </a:cubicBezTo>
                  <a:cubicBezTo>
                    <a:pt x="631" y="504"/>
                    <a:pt x="637" y="504"/>
                    <a:pt x="640" y="507"/>
                  </a:cubicBezTo>
                  <a:cubicBezTo>
                    <a:pt x="646" y="507"/>
                    <a:pt x="649" y="507"/>
                    <a:pt x="654" y="507"/>
                  </a:cubicBezTo>
                  <a:cubicBezTo>
                    <a:pt x="669" y="501"/>
                    <a:pt x="684" y="480"/>
                    <a:pt x="696" y="465"/>
                  </a:cubicBezTo>
                  <a:cubicBezTo>
                    <a:pt x="705" y="456"/>
                    <a:pt x="711" y="462"/>
                    <a:pt x="726" y="462"/>
                  </a:cubicBezTo>
                  <a:cubicBezTo>
                    <a:pt x="729" y="456"/>
                    <a:pt x="735" y="456"/>
                    <a:pt x="744" y="453"/>
                  </a:cubicBezTo>
                  <a:cubicBezTo>
                    <a:pt x="747" y="447"/>
                    <a:pt x="753" y="444"/>
                    <a:pt x="756" y="441"/>
                  </a:cubicBezTo>
                  <a:cubicBezTo>
                    <a:pt x="762" y="441"/>
                    <a:pt x="765" y="423"/>
                    <a:pt x="765" y="423"/>
                  </a:cubicBezTo>
                  <a:cubicBezTo>
                    <a:pt x="774" y="399"/>
                    <a:pt x="780" y="408"/>
                    <a:pt x="801" y="399"/>
                  </a:cubicBezTo>
                  <a:cubicBezTo>
                    <a:pt x="810" y="390"/>
                    <a:pt x="816" y="384"/>
                    <a:pt x="828" y="378"/>
                  </a:cubicBezTo>
                  <a:cubicBezTo>
                    <a:pt x="837" y="372"/>
                    <a:pt x="867" y="375"/>
                    <a:pt x="885" y="378"/>
                  </a:cubicBezTo>
                  <a:cubicBezTo>
                    <a:pt x="888" y="375"/>
                    <a:pt x="891" y="375"/>
                    <a:pt x="894" y="375"/>
                  </a:cubicBezTo>
                  <a:cubicBezTo>
                    <a:pt x="903" y="363"/>
                    <a:pt x="897" y="348"/>
                    <a:pt x="891" y="339"/>
                  </a:cubicBezTo>
                  <a:cubicBezTo>
                    <a:pt x="888" y="336"/>
                    <a:pt x="885" y="330"/>
                    <a:pt x="879" y="327"/>
                  </a:cubicBezTo>
                  <a:cubicBezTo>
                    <a:pt x="873" y="321"/>
                    <a:pt x="864" y="318"/>
                    <a:pt x="855" y="315"/>
                  </a:cubicBezTo>
                  <a:cubicBezTo>
                    <a:pt x="855" y="306"/>
                    <a:pt x="843" y="297"/>
                    <a:pt x="840" y="294"/>
                  </a:cubicBezTo>
                  <a:cubicBezTo>
                    <a:pt x="837" y="294"/>
                    <a:pt x="831" y="294"/>
                    <a:pt x="825" y="294"/>
                  </a:cubicBezTo>
                  <a:cubicBezTo>
                    <a:pt x="822" y="297"/>
                    <a:pt x="819" y="300"/>
                    <a:pt x="819" y="303"/>
                  </a:cubicBezTo>
                  <a:cubicBezTo>
                    <a:pt x="813" y="303"/>
                    <a:pt x="807" y="303"/>
                    <a:pt x="801" y="303"/>
                  </a:cubicBezTo>
                  <a:cubicBezTo>
                    <a:pt x="801" y="309"/>
                    <a:pt x="801" y="315"/>
                    <a:pt x="798" y="321"/>
                  </a:cubicBezTo>
                  <a:cubicBezTo>
                    <a:pt x="789" y="327"/>
                    <a:pt x="774" y="315"/>
                    <a:pt x="768" y="315"/>
                  </a:cubicBezTo>
                  <a:cubicBezTo>
                    <a:pt x="765" y="315"/>
                    <a:pt x="759" y="315"/>
                    <a:pt x="756" y="315"/>
                  </a:cubicBezTo>
                  <a:cubicBezTo>
                    <a:pt x="747" y="318"/>
                    <a:pt x="741" y="321"/>
                    <a:pt x="735" y="327"/>
                  </a:cubicBezTo>
                  <a:cubicBezTo>
                    <a:pt x="720" y="327"/>
                    <a:pt x="717" y="315"/>
                    <a:pt x="717" y="306"/>
                  </a:cubicBezTo>
                  <a:cubicBezTo>
                    <a:pt x="723" y="303"/>
                    <a:pt x="726" y="297"/>
                    <a:pt x="732" y="294"/>
                  </a:cubicBezTo>
                  <a:cubicBezTo>
                    <a:pt x="732" y="279"/>
                    <a:pt x="732" y="273"/>
                    <a:pt x="732" y="267"/>
                  </a:cubicBezTo>
                  <a:cubicBezTo>
                    <a:pt x="735" y="258"/>
                    <a:pt x="738" y="252"/>
                    <a:pt x="741" y="246"/>
                  </a:cubicBezTo>
                  <a:cubicBezTo>
                    <a:pt x="741" y="231"/>
                    <a:pt x="741" y="222"/>
                    <a:pt x="747" y="213"/>
                  </a:cubicBezTo>
                  <a:cubicBezTo>
                    <a:pt x="750" y="213"/>
                    <a:pt x="756" y="213"/>
                    <a:pt x="759" y="213"/>
                  </a:cubicBezTo>
                  <a:cubicBezTo>
                    <a:pt x="771" y="213"/>
                    <a:pt x="795" y="219"/>
                    <a:pt x="810" y="207"/>
                  </a:cubicBezTo>
                  <a:cubicBezTo>
                    <a:pt x="819" y="198"/>
                    <a:pt x="831" y="192"/>
                    <a:pt x="840" y="180"/>
                  </a:cubicBezTo>
                  <a:cubicBezTo>
                    <a:pt x="840" y="165"/>
                    <a:pt x="837" y="126"/>
                    <a:pt x="852" y="120"/>
                  </a:cubicBezTo>
                  <a:cubicBezTo>
                    <a:pt x="861" y="105"/>
                    <a:pt x="858" y="90"/>
                    <a:pt x="870" y="78"/>
                  </a:cubicBezTo>
                  <a:cubicBezTo>
                    <a:pt x="867" y="72"/>
                    <a:pt x="867" y="66"/>
                    <a:pt x="867" y="57"/>
                  </a:cubicBezTo>
                  <a:cubicBezTo>
                    <a:pt x="867" y="54"/>
                    <a:pt x="867" y="54"/>
                    <a:pt x="867" y="54"/>
                  </a:cubicBezTo>
                  <a:cubicBezTo>
                    <a:pt x="861" y="48"/>
                    <a:pt x="858" y="45"/>
                    <a:pt x="855" y="42"/>
                  </a:cubicBezTo>
                  <a:cubicBezTo>
                    <a:pt x="852" y="39"/>
                    <a:pt x="849" y="36"/>
                    <a:pt x="846" y="36"/>
                  </a:cubicBezTo>
                  <a:cubicBezTo>
                    <a:pt x="846" y="21"/>
                    <a:pt x="852" y="15"/>
                    <a:pt x="864" y="9"/>
                  </a:cubicBezTo>
                  <a:cubicBezTo>
                    <a:pt x="876" y="9"/>
                    <a:pt x="882" y="0"/>
                    <a:pt x="894" y="0"/>
                  </a:cubicBezTo>
                  <a:cubicBezTo>
                    <a:pt x="894" y="3"/>
                    <a:pt x="897" y="6"/>
                    <a:pt x="900" y="6"/>
                  </a:cubicBezTo>
                  <a:cubicBezTo>
                    <a:pt x="900" y="12"/>
                    <a:pt x="897" y="15"/>
                    <a:pt x="897" y="21"/>
                  </a:cubicBezTo>
                  <a:cubicBezTo>
                    <a:pt x="891" y="27"/>
                    <a:pt x="888" y="27"/>
                    <a:pt x="888" y="39"/>
                  </a:cubicBezTo>
                  <a:cubicBezTo>
                    <a:pt x="891" y="42"/>
                    <a:pt x="894" y="45"/>
                    <a:pt x="900" y="48"/>
                  </a:cubicBezTo>
                  <a:cubicBezTo>
                    <a:pt x="903" y="54"/>
                    <a:pt x="906" y="57"/>
                    <a:pt x="918" y="57"/>
                  </a:cubicBezTo>
                  <a:cubicBezTo>
                    <a:pt x="918" y="51"/>
                    <a:pt x="921" y="45"/>
                    <a:pt x="921" y="39"/>
                  </a:cubicBezTo>
                  <a:cubicBezTo>
                    <a:pt x="927" y="39"/>
                    <a:pt x="933" y="39"/>
                    <a:pt x="941" y="45"/>
                  </a:cubicBezTo>
                  <a:cubicBezTo>
                    <a:pt x="944" y="48"/>
                    <a:pt x="944" y="48"/>
                    <a:pt x="947" y="51"/>
                  </a:cubicBezTo>
                  <a:cubicBezTo>
                    <a:pt x="947" y="63"/>
                    <a:pt x="950" y="78"/>
                    <a:pt x="959" y="87"/>
                  </a:cubicBezTo>
                  <a:cubicBezTo>
                    <a:pt x="962" y="90"/>
                    <a:pt x="962" y="90"/>
                    <a:pt x="965" y="93"/>
                  </a:cubicBezTo>
                  <a:cubicBezTo>
                    <a:pt x="971" y="90"/>
                    <a:pt x="974" y="90"/>
                    <a:pt x="980" y="90"/>
                  </a:cubicBezTo>
                  <a:cubicBezTo>
                    <a:pt x="995" y="84"/>
                    <a:pt x="1010" y="87"/>
                    <a:pt x="1022" y="75"/>
                  </a:cubicBezTo>
                  <a:cubicBezTo>
                    <a:pt x="1031" y="54"/>
                    <a:pt x="1046" y="51"/>
                    <a:pt x="1058" y="72"/>
                  </a:cubicBezTo>
                  <a:cubicBezTo>
                    <a:pt x="1061" y="81"/>
                    <a:pt x="1064" y="90"/>
                    <a:pt x="1070" y="99"/>
                  </a:cubicBezTo>
                  <a:cubicBezTo>
                    <a:pt x="1070" y="108"/>
                    <a:pt x="1061" y="138"/>
                    <a:pt x="1055" y="147"/>
                  </a:cubicBezTo>
                  <a:cubicBezTo>
                    <a:pt x="1055" y="150"/>
                    <a:pt x="1055" y="156"/>
                    <a:pt x="1055" y="159"/>
                  </a:cubicBezTo>
                  <a:cubicBezTo>
                    <a:pt x="1058" y="168"/>
                    <a:pt x="1064" y="174"/>
                    <a:pt x="1067" y="183"/>
                  </a:cubicBezTo>
                  <a:cubicBezTo>
                    <a:pt x="1067" y="192"/>
                    <a:pt x="1052" y="213"/>
                    <a:pt x="1070" y="225"/>
                  </a:cubicBezTo>
                  <a:cubicBezTo>
                    <a:pt x="1073" y="231"/>
                    <a:pt x="1070" y="243"/>
                    <a:pt x="1070" y="255"/>
                  </a:cubicBezTo>
                  <a:cubicBezTo>
                    <a:pt x="1067" y="255"/>
                    <a:pt x="1064" y="255"/>
                    <a:pt x="1058" y="255"/>
                  </a:cubicBezTo>
                  <a:cubicBezTo>
                    <a:pt x="1052" y="249"/>
                    <a:pt x="1055" y="243"/>
                    <a:pt x="1055" y="237"/>
                  </a:cubicBezTo>
                  <a:cubicBezTo>
                    <a:pt x="1055" y="231"/>
                    <a:pt x="1055" y="231"/>
                    <a:pt x="1049" y="228"/>
                  </a:cubicBezTo>
                  <a:cubicBezTo>
                    <a:pt x="1028" y="228"/>
                    <a:pt x="1043" y="237"/>
                    <a:pt x="1034" y="249"/>
                  </a:cubicBezTo>
                  <a:cubicBezTo>
                    <a:pt x="1025" y="258"/>
                    <a:pt x="1019" y="267"/>
                    <a:pt x="1016" y="282"/>
                  </a:cubicBezTo>
                  <a:cubicBezTo>
                    <a:pt x="1013" y="288"/>
                    <a:pt x="1004" y="297"/>
                    <a:pt x="998" y="303"/>
                  </a:cubicBezTo>
                  <a:cubicBezTo>
                    <a:pt x="998" y="309"/>
                    <a:pt x="995" y="315"/>
                    <a:pt x="995" y="321"/>
                  </a:cubicBezTo>
                  <a:cubicBezTo>
                    <a:pt x="1001" y="324"/>
                    <a:pt x="1001" y="327"/>
                    <a:pt x="1007" y="336"/>
                  </a:cubicBezTo>
                  <a:cubicBezTo>
                    <a:pt x="1013" y="339"/>
                    <a:pt x="1016" y="342"/>
                    <a:pt x="1022" y="348"/>
                  </a:cubicBezTo>
                  <a:cubicBezTo>
                    <a:pt x="1028" y="345"/>
                    <a:pt x="1031" y="345"/>
                    <a:pt x="1037" y="345"/>
                  </a:cubicBezTo>
                  <a:cubicBezTo>
                    <a:pt x="1037" y="342"/>
                    <a:pt x="1040" y="336"/>
                    <a:pt x="1043" y="333"/>
                  </a:cubicBezTo>
                  <a:cubicBezTo>
                    <a:pt x="1043" y="336"/>
                    <a:pt x="1049" y="342"/>
                    <a:pt x="1049" y="351"/>
                  </a:cubicBezTo>
                  <a:cubicBezTo>
                    <a:pt x="1043" y="351"/>
                    <a:pt x="1037" y="354"/>
                    <a:pt x="1031" y="357"/>
                  </a:cubicBezTo>
                  <a:cubicBezTo>
                    <a:pt x="1031" y="360"/>
                    <a:pt x="1028" y="369"/>
                    <a:pt x="1037" y="375"/>
                  </a:cubicBezTo>
                  <a:cubicBezTo>
                    <a:pt x="1034" y="384"/>
                    <a:pt x="1025" y="393"/>
                    <a:pt x="1016" y="399"/>
                  </a:cubicBezTo>
                  <a:cubicBezTo>
                    <a:pt x="1013" y="399"/>
                    <a:pt x="1013" y="399"/>
                    <a:pt x="1010" y="399"/>
                  </a:cubicBezTo>
                  <a:cubicBezTo>
                    <a:pt x="1004" y="393"/>
                    <a:pt x="995" y="390"/>
                    <a:pt x="989" y="384"/>
                  </a:cubicBezTo>
                  <a:cubicBezTo>
                    <a:pt x="986" y="384"/>
                    <a:pt x="983" y="384"/>
                    <a:pt x="980" y="384"/>
                  </a:cubicBezTo>
                  <a:cubicBezTo>
                    <a:pt x="977" y="387"/>
                    <a:pt x="974" y="393"/>
                    <a:pt x="974" y="396"/>
                  </a:cubicBezTo>
                  <a:cubicBezTo>
                    <a:pt x="974" y="399"/>
                    <a:pt x="974" y="405"/>
                    <a:pt x="974" y="408"/>
                  </a:cubicBezTo>
                  <a:cubicBezTo>
                    <a:pt x="980" y="414"/>
                    <a:pt x="995" y="420"/>
                    <a:pt x="1004" y="435"/>
                  </a:cubicBezTo>
                  <a:cubicBezTo>
                    <a:pt x="1004" y="441"/>
                    <a:pt x="1004" y="447"/>
                    <a:pt x="1004" y="453"/>
                  </a:cubicBezTo>
                  <a:cubicBezTo>
                    <a:pt x="1010" y="462"/>
                    <a:pt x="1016" y="474"/>
                    <a:pt x="1019" y="486"/>
                  </a:cubicBezTo>
                  <a:cubicBezTo>
                    <a:pt x="1019" y="489"/>
                    <a:pt x="1022" y="492"/>
                    <a:pt x="1025" y="492"/>
                  </a:cubicBezTo>
                  <a:cubicBezTo>
                    <a:pt x="1025" y="492"/>
                    <a:pt x="1028" y="492"/>
                    <a:pt x="1031" y="492"/>
                  </a:cubicBezTo>
                  <a:cubicBezTo>
                    <a:pt x="1034" y="489"/>
                    <a:pt x="1037" y="483"/>
                    <a:pt x="1037" y="480"/>
                  </a:cubicBezTo>
                  <a:cubicBezTo>
                    <a:pt x="1043" y="474"/>
                    <a:pt x="1046" y="471"/>
                    <a:pt x="1052" y="468"/>
                  </a:cubicBezTo>
                  <a:cubicBezTo>
                    <a:pt x="1055" y="474"/>
                    <a:pt x="1061" y="483"/>
                    <a:pt x="1067" y="498"/>
                  </a:cubicBezTo>
                  <a:cubicBezTo>
                    <a:pt x="1070" y="507"/>
                    <a:pt x="1070" y="519"/>
                    <a:pt x="1085" y="525"/>
                  </a:cubicBezTo>
                  <a:cubicBezTo>
                    <a:pt x="1085" y="528"/>
                    <a:pt x="1088" y="528"/>
                    <a:pt x="1088" y="531"/>
                  </a:cubicBezTo>
                  <a:cubicBezTo>
                    <a:pt x="1085" y="537"/>
                    <a:pt x="1085" y="549"/>
                    <a:pt x="1085" y="558"/>
                  </a:cubicBezTo>
                  <a:cubicBezTo>
                    <a:pt x="1085" y="561"/>
                    <a:pt x="1082" y="564"/>
                    <a:pt x="1079" y="564"/>
                  </a:cubicBezTo>
                  <a:cubicBezTo>
                    <a:pt x="1070" y="564"/>
                    <a:pt x="1070" y="561"/>
                    <a:pt x="1067" y="558"/>
                  </a:cubicBezTo>
                  <a:cubicBezTo>
                    <a:pt x="1040" y="558"/>
                    <a:pt x="1037" y="561"/>
                    <a:pt x="1028" y="582"/>
                  </a:cubicBezTo>
                  <a:cubicBezTo>
                    <a:pt x="1025" y="582"/>
                    <a:pt x="1025" y="582"/>
                    <a:pt x="1022" y="585"/>
                  </a:cubicBezTo>
                  <a:cubicBezTo>
                    <a:pt x="1022" y="591"/>
                    <a:pt x="998" y="606"/>
                    <a:pt x="995" y="609"/>
                  </a:cubicBezTo>
                  <a:cubicBezTo>
                    <a:pt x="992" y="615"/>
                    <a:pt x="977" y="624"/>
                    <a:pt x="971" y="627"/>
                  </a:cubicBezTo>
                  <a:cubicBezTo>
                    <a:pt x="968" y="630"/>
                    <a:pt x="965" y="633"/>
                    <a:pt x="965" y="633"/>
                  </a:cubicBezTo>
                  <a:cubicBezTo>
                    <a:pt x="962" y="633"/>
                    <a:pt x="959" y="636"/>
                    <a:pt x="956" y="636"/>
                  </a:cubicBezTo>
                  <a:cubicBezTo>
                    <a:pt x="953" y="633"/>
                    <a:pt x="950" y="630"/>
                    <a:pt x="947" y="627"/>
                  </a:cubicBezTo>
                  <a:cubicBezTo>
                    <a:pt x="941" y="609"/>
                    <a:pt x="938" y="609"/>
                    <a:pt x="927" y="609"/>
                  </a:cubicBezTo>
                  <a:cubicBezTo>
                    <a:pt x="921" y="621"/>
                    <a:pt x="918" y="639"/>
                    <a:pt x="933" y="651"/>
                  </a:cubicBezTo>
                  <a:cubicBezTo>
                    <a:pt x="933" y="657"/>
                    <a:pt x="933" y="663"/>
                    <a:pt x="933" y="672"/>
                  </a:cubicBezTo>
                  <a:cubicBezTo>
                    <a:pt x="915" y="672"/>
                    <a:pt x="900" y="675"/>
                    <a:pt x="891" y="669"/>
                  </a:cubicBezTo>
                  <a:cubicBezTo>
                    <a:pt x="888" y="651"/>
                    <a:pt x="882" y="648"/>
                    <a:pt x="876" y="639"/>
                  </a:cubicBezTo>
                  <a:cubicBezTo>
                    <a:pt x="873" y="630"/>
                    <a:pt x="867" y="621"/>
                    <a:pt x="864" y="609"/>
                  </a:cubicBezTo>
                  <a:cubicBezTo>
                    <a:pt x="852" y="600"/>
                    <a:pt x="855" y="603"/>
                    <a:pt x="846" y="603"/>
                  </a:cubicBezTo>
                  <a:cubicBezTo>
                    <a:pt x="837" y="609"/>
                    <a:pt x="828" y="615"/>
                    <a:pt x="819" y="621"/>
                  </a:cubicBezTo>
                  <a:cubicBezTo>
                    <a:pt x="816" y="627"/>
                    <a:pt x="816" y="639"/>
                    <a:pt x="819" y="651"/>
                  </a:cubicBezTo>
                  <a:cubicBezTo>
                    <a:pt x="810" y="654"/>
                    <a:pt x="798" y="654"/>
                    <a:pt x="789" y="654"/>
                  </a:cubicBezTo>
                  <a:cubicBezTo>
                    <a:pt x="777" y="660"/>
                    <a:pt x="768" y="666"/>
                    <a:pt x="759" y="672"/>
                  </a:cubicBezTo>
                  <a:cubicBezTo>
                    <a:pt x="756" y="678"/>
                    <a:pt x="756" y="684"/>
                    <a:pt x="750" y="684"/>
                  </a:cubicBezTo>
                  <a:cubicBezTo>
                    <a:pt x="741" y="678"/>
                    <a:pt x="738" y="675"/>
                    <a:pt x="738" y="672"/>
                  </a:cubicBezTo>
                  <a:cubicBezTo>
                    <a:pt x="741" y="669"/>
                    <a:pt x="741" y="669"/>
                    <a:pt x="744" y="666"/>
                  </a:cubicBezTo>
                  <a:cubicBezTo>
                    <a:pt x="744" y="651"/>
                    <a:pt x="732" y="642"/>
                    <a:pt x="723" y="642"/>
                  </a:cubicBezTo>
                  <a:cubicBezTo>
                    <a:pt x="708" y="648"/>
                    <a:pt x="708" y="657"/>
                    <a:pt x="711" y="675"/>
                  </a:cubicBezTo>
                  <a:cubicBezTo>
                    <a:pt x="708" y="675"/>
                    <a:pt x="705" y="675"/>
                    <a:pt x="702" y="678"/>
                  </a:cubicBezTo>
                  <a:cubicBezTo>
                    <a:pt x="699" y="678"/>
                    <a:pt x="699" y="681"/>
                    <a:pt x="699" y="684"/>
                  </a:cubicBezTo>
                  <a:cubicBezTo>
                    <a:pt x="696" y="684"/>
                    <a:pt x="696" y="684"/>
                    <a:pt x="693" y="687"/>
                  </a:cubicBezTo>
                  <a:cubicBezTo>
                    <a:pt x="693" y="696"/>
                    <a:pt x="693" y="705"/>
                    <a:pt x="693" y="714"/>
                  </a:cubicBezTo>
                  <a:cubicBezTo>
                    <a:pt x="696" y="717"/>
                    <a:pt x="699" y="723"/>
                    <a:pt x="702" y="726"/>
                  </a:cubicBezTo>
                  <a:cubicBezTo>
                    <a:pt x="702" y="728"/>
                    <a:pt x="702" y="731"/>
                    <a:pt x="705" y="734"/>
                  </a:cubicBezTo>
                  <a:cubicBezTo>
                    <a:pt x="702" y="737"/>
                    <a:pt x="699" y="740"/>
                    <a:pt x="699" y="743"/>
                  </a:cubicBezTo>
                  <a:cubicBezTo>
                    <a:pt x="684" y="755"/>
                    <a:pt x="669" y="758"/>
                    <a:pt x="654" y="755"/>
                  </a:cubicBezTo>
                  <a:cubicBezTo>
                    <a:pt x="643" y="755"/>
                    <a:pt x="640" y="761"/>
                    <a:pt x="634" y="764"/>
                  </a:cubicBezTo>
                  <a:cubicBezTo>
                    <a:pt x="631" y="767"/>
                    <a:pt x="628" y="770"/>
                    <a:pt x="625" y="773"/>
                  </a:cubicBezTo>
                  <a:cubicBezTo>
                    <a:pt x="619" y="785"/>
                    <a:pt x="607" y="800"/>
                    <a:pt x="595" y="812"/>
                  </a:cubicBezTo>
                  <a:cubicBezTo>
                    <a:pt x="589" y="809"/>
                    <a:pt x="586" y="806"/>
                    <a:pt x="583" y="803"/>
                  </a:cubicBezTo>
                  <a:cubicBezTo>
                    <a:pt x="577" y="803"/>
                    <a:pt x="571" y="803"/>
                    <a:pt x="568" y="803"/>
                  </a:cubicBezTo>
                  <a:cubicBezTo>
                    <a:pt x="568" y="809"/>
                    <a:pt x="565" y="815"/>
                    <a:pt x="562" y="815"/>
                  </a:cubicBezTo>
                  <a:cubicBezTo>
                    <a:pt x="556" y="806"/>
                    <a:pt x="550" y="809"/>
                    <a:pt x="544" y="809"/>
                  </a:cubicBezTo>
                  <a:cubicBezTo>
                    <a:pt x="541" y="815"/>
                    <a:pt x="538" y="824"/>
                    <a:pt x="532" y="827"/>
                  </a:cubicBezTo>
                  <a:cubicBezTo>
                    <a:pt x="517" y="833"/>
                    <a:pt x="511" y="857"/>
                    <a:pt x="496" y="866"/>
                  </a:cubicBezTo>
                  <a:cubicBezTo>
                    <a:pt x="490" y="875"/>
                    <a:pt x="493" y="881"/>
                    <a:pt x="493" y="893"/>
                  </a:cubicBezTo>
                  <a:cubicBezTo>
                    <a:pt x="493" y="899"/>
                    <a:pt x="490" y="911"/>
                    <a:pt x="490" y="917"/>
                  </a:cubicBezTo>
                  <a:cubicBezTo>
                    <a:pt x="487" y="917"/>
                    <a:pt x="487" y="917"/>
                    <a:pt x="487" y="917"/>
                  </a:cubicBezTo>
                  <a:cubicBezTo>
                    <a:pt x="466" y="917"/>
                    <a:pt x="448" y="914"/>
                    <a:pt x="433" y="911"/>
                  </a:cubicBezTo>
                  <a:cubicBezTo>
                    <a:pt x="427" y="908"/>
                    <a:pt x="421" y="905"/>
                    <a:pt x="418" y="902"/>
                  </a:cubicBezTo>
                  <a:cubicBezTo>
                    <a:pt x="415" y="899"/>
                    <a:pt x="412" y="896"/>
                    <a:pt x="409" y="893"/>
                  </a:cubicBezTo>
                  <a:cubicBezTo>
                    <a:pt x="403" y="893"/>
                    <a:pt x="397" y="890"/>
                    <a:pt x="391" y="890"/>
                  </a:cubicBezTo>
                  <a:cubicBezTo>
                    <a:pt x="391" y="884"/>
                    <a:pt x="391" y="878"/>
                    <a:pt x="391" y="875"/>
                  </a:cubicBezTo>
                  <a:cubicBezTo>
                    <a:pt x="397" y="863"/>
                    <a:pt x="406" y="851"/>
                    <a:pt x="406" y="836"/>
                  </a:cubicBezTo>
                  <a:cubicBezTo>
                    <a:pt x="403" y="821"/>
                    <a:pt x="391" y="824"/>
                    <a:pt x="385" y="824"/>
                  </a:cubicBezTo>
                  <a:cubicBezTo>
                    <a:pt x="382" y="827"/>
                    <a:pt x="379" y="827"/>
                    <a:pt x="376" y="830"/>
                  </a:cubicBezTo>
                  <a:cubicBezTo>
                    <a:pt x="359" y="830"/>
                    <a:pt x="367" y="830"/>
                    <a:pt x="364" y="848"/>
                  </a:cubicBezTo>
                  <a:cubicBezTo>
                    <a:pt x="359" y="851"/>
                    <a:pt x="359" y="854"/>
                    <a:pt x="359" y="857"/>
                  </a:cubicBezTo>
                  <a:cubicBezTo>
                    <a:pt x="356" y="863"/>
                    <a:pt x="353" y="869"/>
                    <a:pt x="350" y="875"/>
                  </a:cubicBezTo>
                  <a:cubicBezTo>
                    <a:pt x="350" y="881"/>
                    <a:pt x="350" y="890"/>
                    <a:pt x="350" y="896"/>
                  </a:cubicBezTo>
                  <a:cubicBezTo>
                    <a:pt x="347" y="899"/>
                    <a:pt x="344" y="902"/>
                    <a:pt x="344" y="905"/>
                  </a:cubicBezTo>
                  <a:cubicBezTo>
                    <a:pt x="329" y="905"/>
                    <a:pt x="329" y="908"/>
                    <a:pt x="323" y="914"/>
                  </a:cubicBezTo>
                  <a:cubicBezTo>
                    <a:pt x="311" y="914"/>
                    <a:pt x="302" y="917"/>
                    <a:pt x="293" y="920"/>
                  </a:cubicBezTo>
                  <a:cubicBezTo>
                    <a:pt x="287" y="923"/>
                    <a:pt x="284" y="929"/>
                    <a:pt x="278" y="932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41" name="Freeform 15"/>
            <p:cNvSpPr>
              <a:spLocks/>
            </p:cNvSpPr>
            <p:nvPr/>
          </p:nvSpPr>
          <p:spPr bwMode="auto">
            <a:xfrm>
              <a:off x="7526870" y="2320729"/>
              <a:ext cx="155509" cy="226122"/>
            </a:xfrm>
            <a:custGeom>
              <a:avLst/>
              <a:gdLst>
                <a:gd name="T0" fmla="*/ 620601374 w 266"/>
                <a:gd name="T1" fmla="*/ 2147483647 h 392"/>
                <a:gd name="T2" fmla="*/ 144807428 w 266"/>
                <a:gd name="T3" fmla="*/ 2147483647 h 392"/>
                <a:gd name="T4" fmla="*/ 165494572 w 266"/>
                <a:gd name="T5" fmla="*/ 2147483647 h 392"/>
                <a:gd name="T6" fmla="*/ 20687150 w 266"/>
                <a:gd name="T7" fmla="*/ 1816773680 h 392"/>
                <a:gd name="T8" fmla="*/ 268927711 w 266"/>
                <a:gd name="T9" fmla="*/ 1485194514 h 392"/>
                <a:gd name="T10" fmla="*/ 82745973 w 266"/>
                <a:gd name="T11" fmla="*/ 1153617648 h 392"/>
                <a:gd name="T12" fmla="*/ 62058829 w 266"/>
                <a:gd name="T13" fmla="*/ 1153617648 h 392"/>
                <a:gd name="T14" fmla="*/ 165494572 w 266"/>
                <a:gd name="T15" fmla="*/ 1008552092 h 392"/>
                <a:gd name="T16" fmla="*/ 82745973 w 266"/>
                <a:gd name="T17" fmla="*/ 870393668 h 392"/>
                <a:gd name="T18" fmla="*/ 0 w 266"/>
                <a:gd name="T19" fmla="*/ 621710443 h 392"/>
                <a:gd name="T20" fmla="*/ 103433138 w 266"/>
                <a:gd name="T21" fmla="*/ 538814338 h 392"/>
                <a:gd name="T22" fmla="*/ 186179132 w 266"/>
                <a:gd name="T23" fmla="*/ 331579248 h 392"/>
                <a:gd name="T24" fmla="*/ 330986519 w 266"/>
                <a:gd name="T25" fmla="*/ 621710443 h 392"/>
                <a:gd name="T26" fmla="*/ 413732553 w 266"/>
                <a:gd name="T27" fmla="*/ 600986417 h 392"/>
                <a:gd name="T28" fmla="*/ 868839396 w 266"/>
                <a:gd name="T29" fmla="*/ 373024755 h 392"/>
                <a:gd name="T30" fmla="*/ 992959638 w 266"/>
                <a:gd name="T31" fmla="*/ 82893498 h 392"/>
                <a:gd name="T32" fmla="*/ 1261887266 w 266"/>
                <a:gd name="T33" fmla="*/ 414472807 h 392"/>
                <a:gd name="T34" fmla="*/ 1572186886 w 266"/>
                <a:gd name="T35" fmla="*/ 538814338 h 392"/>
                <a:gd name="T36" fmla="*/ 1551499741 w 266"/>
                <a:gd name="T37" fmla="*/ 787500190 h 392"/>
                <a:gd name="T38" fmla="*/ 1834218800 w 266"/>
                <a:gd name="T39" fmla="*/ 967104039 h 392"/>
                <a:gd name="T40" fmla="*/ 1489440933 w 266"/>
                <a:gd name="T41" fmla="*/ 1360852656 h 392"/>
                <a:gd name="T42" fmla="*/ 1199825832 w 266"/>
                <a:gd name="T43" fmla="*/ 1215787099 h 392"/>
                <a:gd name="T44" fmla="*/ 1055021072 w 266"/>
                <a:gd name="T45" fmla="*/ 987828065 h 392"/>
                <a:gd name="T46" fmla="*/ 889526540 w 266"/>
                <a:gd name="T47" fmla="*/ 683879894 h 392"/>
                <a:gd name="T48" fmla="*/ 599914229 w 266"/>
                <a:gd name="T49" fmla="*/ 884210561 h 392"/>
                <a:gd name="T50" fmla="*/ 475793987 w 266"/>
                <a:gd name="T51" fmla="*/ 1132893622 h 392"/>
                <a:gd name="T52" fmla="*/ 703347490 w 266"/>
                <a:gd name="T53" fmla="*/ 1298683205 h 392"/>
                <a:gd name="T54" fmla="*/ 930900830 w 266"/>
                <a:gd name="T55" fmla="*/ 1298683205 h 392"/>
                <a:gd name="T56" fmla="*/ 992959638 w 266"/>
                <a:gd name="T57" fmla="*/ 1505918541 h 392"/>
                <a:gd name="T58" fmla="*/ 1282574411 w 266"/>
                <a:gd name="T59" fmla="*/ 1775328256 h 392"/>
                <a:gd name="T60" fmla="*/ 951587974 w 266"/>
                <a:gd name="T61" fmla="*/ 2024011316 h 392"/>
                <a:gd name="T62" fmla="*/ 641285892 w 266"/>
                <a:gd name="T63" fmla="*/ 2147483647 h 39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66"/>
                <a:gd name="T97" fmla="*/ 0 h 392"/>
                <a:gd name="T98" fmla="*/ 266 w 266"/>
                <a:gd name="T99" fmla="*/ 392 h 39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66" h="392">
                  <a:moveTo>
                    <a:pt x="96" y="392"/>
                  </a:moveTo>
                  <a:cubicBezTo>
                    <a:pt x="93" y="389"/>
                    <a:pt x="90" y="386"/>
                    <a:pt x="90" y="383"/>
                  </a:cubicBezTo>
                  <a:cubicBezTo>
                    <a:pt x="78" y="383"/>
                    <a:pt x="66" y="383"/>
                    <a:pt x="54" y="386"/>
                  </a:cubicBezTo>
                  <a:cubicBezTo>
                    <a:pt x="42" y="383"/>
                    <a:pt x="30" y="380"/>
                    <a:pt x="21" y="377"/>
                  </a:cubicBezTo>
                  <a:cubicBezTo>
                    <a:pt x="12" y="371"/>
                    <a:pt x="6" y="362"/>
                    <a:pt x="6" y="362"/>
                  </a:cubicBezTo>
                  <a:cubicBezTo>
                    <a:pt x="12" y="353"/>
                    <a:pt x="18" y="347"/>
                    <a:pt x="24" y="341"/>
                  </a:cubicBezTo>
                  <a:cubicBezTo>
                    <a:pt x="27" y="335"/>
                    <a:pt x="27" y="329"/>
                    <a:pt x="30" y="323"/>
                  </a:cubicBezTo>
                  <a:cubicBezTo>
                    <a:pt x="36" y="290"/>
                    <a:pt x="18" y="278"/>
                    <a:pt x="3" y="263"/>
                  </a:cubicBezTo>
                  <a:cubicBezTo>
                    <a:pt x="3" y="242"/>
                    <a:pt x="15" y="236"/>
                    <a:pt x="30" y="227"/>
                  </a:cubicBezTo>
                  <a:cubicBezTo>
                    <a:pt x="33" y="221"/>
                    <a:pt x="36" y="218"/>
                    <a:pt x="39" y="215"/>
                  </a:cubicBezTo>
                  <a:cubicBezTo>
                    <a:pt x="39" y="209"/>
                    <a:pt x="39" y="203"/>
                    <a:pt x="39" y="200"/>
                  </a:cubicBezTo>
                  <a:cubicBezTo>
                    <a:pt x="30" y="185"/>
                    <a:pt x="21" y="176"/>
                    <a:pt x="12" y="167"/>
                  </a:cubicBezTo>
                  <a:cubicBezTo>
                    <a:pt x="9" y="167"/>
                    <a:pt x="9" y="167"/>
                    <a:pt x="9" y="167"/>
                  </a:cubicBezTo>
                  <a:cubicBezTo>
                    <a:pt x="9" y="167"/>
                    <a:pt x="9" y="167"/>
                    <a:pt x="9" y="167"/>
                  </a:cubicBezTo>
                  <a:cubicBezTo>
                    <a:pt x="12" y="164"/>
                    <a:pt x="15" y="161"/>
                    <a:pt x="18" y="158"/>
                  </a:cubicBezTo>
                  <a:cubicBezTo>
                    <a:pt x="21" y="155"/>
                    <a:pt x="24" y="149"/>
                    <a:pt x="24" y="146"/>
                  </a:cubicBezTo>
                  <a:cubicBezTo>
                    <a:pt x="18" y="143"/>
                    <a:pt x="15" y="140"/>
                    <a:pt x="12" y="137"/>
                  </a:cubicBezTo>
                  <a:cubicBezTo>
                    <a:pt x="12" y="131"/>
                    <a:pt x="12" y="128"/>
                    <a:pt x="12" y="126"/>
                  </a:cubicBezTo>
                  <a:cubicBezTo>
                    <a:pt x="6" y="120"/>
                    <a:pt x="3" y="117"/>
                    <a:pt x="0" y="114"/>
                  </a:cubicBezTo>
                  <a:cubicBezTo>
                    <a:pt x="0" y="105"/>
                    <a:pt x="0" y="99"/>
                    <a:pt x="0" y="90"/>
                  </a:cubicBezTo>
                  <a:cubicBezTo>
                    <a:pt x="3" y="87"/>
                    <a:pt x="3" y="84"/>
                    <a:pt x="6" y="81"/>
                  </a:cubicBezTo>
                  <a:cubicBezTo>
                    <a:pt x="6" y="81"/>
                    <a:pt x="15" y="81"/>
                    <a:pt x="15" y="78"/>
                  </a:cubicBezTo>
                  <a:cubicBezTo>
                    <a:pt x="15" y="69"/>
                    <a:pt x="15" y="63"/>
                    <a:pt x="15" y="54"/>
                  </a:cubicBezTo>
                  <a:cubicBezTo>
                    <a:pt x="21" y="51"/>
                    <a:pt x="21" y="48"/>
                    <a:pt x="27" y="48"/>
                  </a:cubicBezTo>
                  <a:cubicBezTo>
                    <a:pt x="30" y="51"/>
                    <a:pt x="39" y="54"/>
                    <a:pt x="39" y="63"/>
                  </a:cubicBezTo>
                  <a:cubicBezTo>
                    <a:pt x="27" y="72"/>
                    <a:pt x="36" y="81"/>
                    <a:pt x="48" y="90"/>
                  </a:cubicBezTo>
                  <a:cubicBezTo>
                    <a:pt x="51" y="90"/>
                    <a:pt x="51" y="90"/>
                    <a:pt x="54" y="90"/>
                  </a:cubicBezTo>
                  <a:cubicBezTo>
                    <a:pt x="57" y="90"/>
                    <a:pt x="57" y="87"/>
                    <a:pt x="60" y="87"/>
                  </a:cubicBezTo>
                  <a:cubicBezTo>
                    <a:pt x="60" y="75"/>
                    <a:pt x="72" y="75"/>
                    <a:pt x="81" y="69"/>
                  </a:cubicBezTo>
                  <a:cubicBezTo>
                    <a:pt x="90" y="54"/>
                    <a:pt x="111" y="63"/>
                    <a:pt x="126" y="54"/>
                  </a:cubicBezTo>
                  <a:cubicBezTo>
                    <a:pt x="123" y="45"/>
                    <a:pt x="123" y="36"/>
                    <a:pt x="123" y="27"/>
                  </a:cubicBezTo>
                  <a:cubicBezTo>
                    <a:pt x="129" y="21"/>
                    <a:pt x="132" y="18"/>
                    <a:pt x="144" y="12"/>
                  </a:cubicBezTo>
                  <a:cubicBezTo>
                    <a:pt x="156" y="0"/>
                    <a:pt x="159" y="12"/>
                    <a:pt x="165" y="27"/>
                  </a:cubicBezTo>
                  <a:cubicBezTo>
                    <a:pt x="171" y="39"/>
                    <a:pt x="177" y="48"/>
                    <a:pt x="183" y="60"/>
                  </a:cubicBezTo>
                  <a:cubicBezTo>
                    <a:pt x="186" y="69"/>
                    <a:pt x="183" y="72"/>
                    <a:pt x="198" y="78"/>
                  </a:cubicBezTo>
                  <a:cubicBezTo>
                    <a:pt x="204" y="78"/>
                    <a:pt x="216" y="78"/>
                    <a:pt x="228" y="78"/>
                  </a:cubicBezTo>
                  <a:cubicBezTo>
                    <a:pt x="225" y="84"/>
                    <a:pt x="216" y="84"/>
                    <a:pt x="213" y="93"/>
                  </a:cubicBezTo>
                  <a:cubicBezTo>
                    <a:pt x="213" y="99"/>
                    <a:pt x="210" y="105"/>
                    <a:pt x="225" y="114"/>
                  </a:cubicBezTo>
                  <a:cubicBezTo>
                    <a:pt x="234" y="114"/>
                    <a:pt x="245" y="126"/>
                    <a:pt x="257" y="134"/>
                  </a:cubicBezTo>
                  <a:cubicBezTo>
                    <a:pt x="260" y="134"/>
                    <a:pt x="263" y="137"/>
                    <a:pt x="266" y="140"/>
                  </a:cubicBezTo>
                  <a:cubicBezTo>
                    <a:pt x="257" y="149"/>
                    <a:pt x="251" y="161"/>
                    <a:pt x="242" y="173"/>
                  </a:cubicBezTo>
                  <a:cubicBezTo>
                    <a:pt x="242" y="182"/>
                    <a:pt x="225" y="194"/>
                    <a:pt x="216" y="197"/>
                  </a:cubicBezTo>
                  <a:cubicBezTo>
                    <a:pt x="210" y="197"/>
                    <a:pt x="204" y="197"/>
                    <a:pt x="198" y="200"/>
                  </a:cubicBezTo>
                  <a:cubicBezTo>
                    <a:pt x="186" y="191"/>
                    <a:pt x="180" y="182"/>
                    <a:pt x="174" y="176"/>
                  </a:cubicBezTo>
                  <a:cubicBezTo>
                    <a:pt x="171" y="167"/>
                    <a:pt x="174" y="155"/>
                    <a:pt x="171" y="149"/>
                  </a:cubicBezTo>
                  <a:cubicBezTo>
                    <a:pt x="165" y="146"/>
                    <a:pt x="159" y="146"/>
                    <a:pt x="153" y="143"/>
                  </a:cubicBezTo>
                  <a:cubicBezTo>
                    <a:pt x="153" y="131"/>
                    <a:pt x="156" y="117"/>
                    <a:pt x="156" y="108"/>
                  </a:cubicBezTo>
                  <a:cubicBezTo>
                    <a:pt x="144" y="108"/>
                    <a:pt x="132" y="108"/>
                    <a:pt x="129" y="99"/>
                  </a:cubicBezTo>
                  <a:cubicBezTo>
                    <a:pt x="111" y="99"/>
                    <a:pt x="111" y="99"/>
                    <a:pt x="108" y="114"/>
                  </a:cubicBezTo>
                  <a:cubicBezTo>
                    <a:pt x="99" y="120"/>
                    <a:pt x="93" y="126"/>
                    <a:pt x="87" y="128"/>
                  </a:cubicBezTo>
                  <a:cubicBezTo>
                    <a:pt x="87" y="134"/>
                    <a:pt x="87" y="137"/>
                    <a:pt x="90" y="146"/>
                  </a:cubicBezTo>
                  <a:cubicBezTo>
                    <a:pt x="90" y="161"/>
                    <a:pt x="75" y="158"/>
                    <a:pt x="69" y="164"/>
                  </a:cubicBezTo>
                  <a:cubicBezTo>
                    <a:pt x="69" y="170"/>
                    <a:pt x="66" y="182"/>
                    <a:pt x="69" y="188"/>
                  </a:cubicBezTo>
                  <a:cubicBezTo>
                    <a:pt x="81" y="188"/>
                    <a:pt x="90" y="188"/>
                    <a:pt x="102" y="188"/>
                  </a:cubicBezTo>
                  <a:cubicBezTo>
                    <a:pt x="108" y="182"/>
                    <a:pt x="111" y="176"/>
                    <a:pt x="126" y="179"/>
                  </a:cubicBezTo>
                  <a:cubicBezTo>
                    <a:pt x="129" y="182"/>
                    <a:pt x="132" y="182"/>
                    <a:pt x="135" y="188"/>
                  </a:cubicBezTo>
                  <a:cubicBezTo>
                    <a:pt x="138" y="191"/>
                    <a:pt x="138" y="194"/>
                    <a:pt x="141" y="197"/>
                  </a:cubicBezTo>
                  <a:cubicBezTo>
                    <a:pt x="141" y="203"/>
                    <a:pt x="144" y="212"/>
                    <a:pt x="144" y="218"/>
                  </a:cubicBezTo>
                  <a:cubicBezTo>
                    <a:pt x="150" y="227"/>
                    <a:pt x="159" y="236"/>
                    <a:pt x="174" y="242"/>
                  </a:cubicBezTo>
                  <a:cubicBezTo>
                    <a:pt x="180" y="248"/>
                    <a:pt x="183" y="251"/>
                    <a:pt x="186" y="257"/>
                  </a:cubicBezTo>
                  <a:cubicBezTo>
                    <a:pt x="177" y="257"/>
                    <a:pt x="174" y="266"/>
                    <a:pt x="168" y="269"/>
                  </a:cubicBezTo>
                  <a:cubicBezTo>
                    <a:pt x="165" y="281"/>
                    <a:pt x="147" y="290"/>
                    <a:pt x="138" y="293"/>
                  </a:cubicBezTo>
                  <a:cubicBezTo>
                    <a:pt x="129" y="299"/>
                    <a:pt x="123" y="308"/>
                    <a:pt x="117" y="317"/>
                  </a:cubicBezTo>
                  <a:cubicBezTo>
                    <a:pt x="93" y="341"/>
                    <a:pt x="78" y="347"/>
                    <a:pt x="93" y="386"/>
                  </a:cubicBezTo>
                  <a:cubicBezTo>
                    <a:pt x="93" y="386"/>
                    <a:pt x="96" y="389"/>
                    <a:pt x="96" y="392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42" name="Freeform 16"/>
            <p:cNvSpPr>
              <a:spLocks/>
            </p:cNvSpPr>
            <p:nvPr/>
          </p:nvSpPr>
          <p:spPr bwMode="auto">
            <a:xfrm>
              <a:off x="7446642" y="2401560"/>
              <a:ext cx="99667" cy="197204"/>
            </a:xfrm>
            <a:custGeom>
              <a:avLst/>
              <a:gdLst>
                <a:gd name="T0" fmla="*/ 124824953 w 170"/>
                <a:gd name="T1" fmla="*/ 2147483647 h 342"/>
                <a:gd name="T2" fmla="*/ 41607437 w 170"/>
                <a:gd name="T3" fmla="*/ 2147483647 h 342"/>
                <a:gd name="T4" fmla="*/ 83217506 w 170"/>
                <a:gd name="T5" fmla="*/ 2050050394 h 342"/>
                <a:gd name="T6" fmla="*/ 62411160 w 170"/>
                <a:gd name="T7" fmla="*/ 1925804398 h 342"/>
                <a:gd name="T8" fmla="*/ 0 w 170"/>
                <a:gd name="T9" fmla="*/ 1780852926 h 342"/>
                <a:gd name="T10" fmla="*/ 0 w 170"/>
                <a:gd name="T11" fmla="*/ 1532360934 h 342"/>
                <a:gd name="T12" fmla="*/ 104021240 w 170"/>
                <a:gd name="T13" fmla="*/ 1325284821 h 342"/>
                <a:gd name="T14" fmla="*/ 124824953 w 170"/>
                <a:gd name="T15" fmla="*/ 1242455033 h 342"/>
                <a:gd name="T16" fmla="*/ 166432379 w 170"/>
                <a:gd name="T17" fmla="*/ 869717045 h 342"/>
                <a:gd name="T18" fmla="*/ 187236134 w 170"/>
                <a:gd name="T19" fmla="*/ 662643724 h 342"/>
                <a:gd name="T20" fmla="*/ 228846193 w 170"/>
                <a:gd name="T21" fmla="*/ 579811309 h 342"/>
                <a:gd name="T22" fmla="*/ 395278614 w 170"/>
                <a:gd name="T23" fmla="*/ 393443629 h 342"/>
                <a:gd name="T24" fmla="*/ 540907239 w 170"/>
                <a:gd name="T25" fmla="*/ 207075866 h 342"/>
                <a:gd name="T26" fmla="*/ 603318379 w 170"/>
                <a:gd name="T27" fmla="*/ 144954141 h 342"/>
                <a:gd name="T28" fmla="*/ 825228328 w 170"/>
                <a:gd name="T29" fmla="*/ 124246037 h 342"/>
                <a:gd name="T30" fmla="*/ 970859586 w 170"/>
                <a:gd name="T31" fmla="*/ 41416218 h 342"/>
                <a:gd name="T32" fmla="*/ 1012467012 w 170"/>
                <a:gd name="T33" fmla="*/ 0 h 342"/>
                <a:gd name="T34" fmla="*/ 1074878152 w 170"/>
                <a:gd name="T35" fmla="*/ 41416218 h 342"/>
                <a:gd name="T36" fmla="*/ 970859586 w 170"/>
                <a:gd name="T37" fmla="*/ 207075866 h 342"/>
                <a:gd name="T38" fmla="*/ 1178899351 w 170"/>
                <a:gd name="T39" fmla="*/ 434859836 h 342"/>
                <a:gd name="T40" fmla="*/ 1178899351 w 170"/>
                <a:gd name="T41" fmla="*/ 496981521 h 342"/>
                <a:gd name="T42" fmla="*/ 1012467012 w 170"/>
                <a:gd name="T43" fmla="*/ 641935620 h 342"/>
                <a:gd name="T44" fmla="*/ 950053240 w 170"/>
                <a:gd name="T45" fmla="*/ 890425149 h 342"/>
                <a:gd name="T46" fmla="*/ 1033270726 w 170"/>
                <a:gd name="T47" fmla="*/ 952549461 h 342"/>
                <a:gd name="T48" fmla="*/ 1137291925 w 170"/>
                <a:gd name="T49" fmla="*/ 1201038825 h 342"/>
                <a:gd name="T50" fmla="*/ 1095681865 w 170"/>
                <a:gd name="T51" fmla="*/ 1325284821 h 342"/>
                <a:gd name="T52" fmla="*/ 950053240 w 170"/>
                <a:gd name="T53" fmla="*/ 1511652830 h 342"/>
                <a:gd name="T54" fmla="*/ 950053240 w 170"/>
                <a:gd name="T55" fmla="*/ 1553069038 h 342"/>
                <a:gd name="T56" fmla="*/ 1033270726 w 170"/>
                <a:gd name="T57" fmla="*/ 1635898826 h 342"/>
                <a:gd name="T58" fmla="*/ 1033270726 w 170"/>
                <a:gd name="T59" fmla="*/ 1884390818 h 342"/>
                <a:gd name="T60" fmla="*/ 825228328 w 170"/>
                <a:gd name="T61" fmla="*/ 2091466602 h 342"/>
                <a:gd name="T62" fmla="*/ 582514665 w 170"/>
                <a:gd name="T63" fmla="*/ 2132880182 h 342"/>
                <a:gd name="T64" fmla="*/ 332864759 w 170"/>
                <a:gd name="T65" fmla="*/ 2147483647 h 342"/>
                <a:gd name="T66" fmla="*/ 228846193 w 170"/>
                <a:gd name="T67" fmla="*/ 2147483647 h 342"/>
                <a:gd name="T68" fmla="*/ 124824953 w 170"/>
                <a:gd name="T69" fmla="*/ 2147483647 h 34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0"/>
                <a:gd name="T106" fmla="*/ 0 h 342"/>
                <a:gd name="T107" fmla="*/ 170 w 170"/>
                <a:gd name="T108" fmla="*/ 342 h 34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0" h="342">
                  <a:moveTo>
                    <a:pt x="18" y="342"/>
                  </a:moveTo>
                  <a:cubicBezTo>
                    <a:pt x="3" y="333"/>
                    <a:pt x="6" y="321"/>
                    <a:pt x="6" y="312"/>
                  </a:cubicBezTo>
                  <a:cubicBezTo>
                    <a:pt x="9" y="306"/>
                    <a:pt x="9" y="303"/>
                    <a:pt x="12" y="297"/>
                  </a:cubicBezTo>
                  <a:cubicBezTo>
                    <a:pt x="9" y="291"/>
                    <a:pt x="9" y="285"/>
                    <a:pt x="9" y="279"/>
                  </a:cubicBezTo>
                  <a:cubicBezTo>
                    <a:pt x="6" y="273"/>
                    <a:pt x="3" y="264"/>
                    <a:pt x="0" y="258"/>
                  </a:cubicBezTo>
                  <a:cubicBezTo>
                    <a:pt x="0" y="246"/>
                    <a:pt x="0" y="234"/>
                    <a:pt x="0" y="222"/>
                  </a:cubicBezTo>
                  <a:cubicBezTo>
                    <a:pt x="9" y="210"/>
                    <a:pt x="12" y="201"/>
                    <a:pt x="15" y="192"/>
                  </a:cubicBezTo>
                  <a:cubicBezTo>
                    <a:pt x="15" y="189"/>
                    <a:pt x="15" y="183"/>
                    <a:pt x="18" y="180"/>
                  </a:cubicBezTo>
                  <a:cubicBezTo>
                    <a:pt x="12" y="156"/>
                    <a:pt x="3" y="138"/>
                    <a:pt x="24" y="126"/>
                  </a:cubicBezTo>
                  <a:cubicBezTo>
                    <a:pt x="27" y="111"/>
                    <a:pt x="27" y="105"/>
                    <a:pt x="27" y="96"/>
                  </a:cubicBezTo>
                  <a:cubicBezTo>
                    <a:pt x="30" y="93"/>
                    <a:pt x="30" y="90"/>
                    <a:pt x="33" y="84"/>
                  </a:cubicBezTo>
                  <a:cubicBezTo>
                    <a:pt x="36" y="69"/>
                    <a:pt x="45" y="63"/>
                    <a:pt x="57" y="57"/>
                  </a:cubicBezTo>
                  <a:cubicBezTo>
                    <a:pt x="63" y="48"/>
                    <a:pt x="69" y="33"/>
                    <a:pt x="78" y="30"/>
                  </a:cubicBezTo>
                  <a:cubicBezTo>
                    <a:pt x="81" y="27"/>
                    <a:pt x="84" y="24"/>
                    <a:pt x="87" y="21"/>
                  </a:cubicBezTo>
                  <a:cubicBezTo>
                    <a:pt x="92" y="21"/>
                    <a:pt x="113" y="24"/>
                    <a:pt x="119" y="18"/>
                  </a:cubicBezTo>
                  <a:cubicBezTo>
                    <a:pt x="125" y="15"/>
                    <a:pt x="134" y="12"/>
                    <a:pt x="140" y="6"/>
                  </a:cubicBezTo>
                  <a:cubicBezTo>
                    <a:pt x="143" y="3"/>
                    <a:pt x="143" y="3"/>
                    <a:pt x="146" y="0"/>
                  </a:cubicBezTo>
                  <a:cubicBezTo>
                    <a:pt x="149" y="3"/>
                    <a:pt x="152" y="6"/>
                    <a:pt x="155" y="6"/>
                  </a:cubicBezTo>
                  <a:cubicBezTo>
                    <a:pt x="155" y="15"/>
                    <a:pt x="134" y="18"/>
                    <a:pt x="140" y="30"/>
                  </a:cubicBezTo>
                  <a:cubicBezTo>
                    <a:pt x="152" y="33"/>
                    <a:pt x="158" y="45"/>
                    <a:pt x="170" y="63"/>
                  </a:cubicBezTo>
                  <a:cubicBezTo>
                    <a:pt x="170" y="66"/>
                    <a:pt x="170" y="69"/>
                    <a:pt x="170" y="72"/>
                  </a:cubicBezTo>
                  <a:cubicBezTo>
                    <a:pt x="161" y="87"/>
                    <a:pt x="158" y="84"/>
                    <a:pt x="146" y="93"/>
                  </a:cubicBezTo>
                  <a:cubicBezTo>
                    <a:pt x="140" y="102"/>
                    <a:pt x="128" y="117"/>
                    <a:pt x="137" y="129"/>
                  </a:cubicBezTo>
                  <a:cubicBezTo>
                    <a:pt x="140" y="132"/>
                    <a:pt x="146" y="135"/>
                    <a:pt x="149" y="138"/>
                  </a:cubicBezTo>
                  <a:cubicBezTo>
                    <a:pt x="155" y="147"/>
                    <a:pt x="164" y="153"/>
                    <a:pt x="164" y="174"/>
                  </a:cubicBezTo>
                  <a:cubicBezTo>
                    <a:pt x="161" y="180"/>
                    <a:pt x="161" y="186"/>
                    <a:pt x="158" y="192"/>
                  </a:cubicBezTo>
                  <a:cubicBezTo>
                    <a:pt x="155" y="201"/>
                    <a:pt x="143" y="213"/>
                    <a:pt x="137" y="219"/>
                  </a:cubicBezTo>
                  <a:cubicBezTo>
                    <a:pt x="137" y="222"/>
                    <a:pt x="137" y="222"/>
                    <a:pt x="137" y="225"/>
                  </a:cubicBezTo>
                  <a:cubicBezTo>
                    <a:pt x="140" y="228"/>
                    <a:pt x="146" y="234"/>
                    <a:pt x="149" y="237"/>
                  </a:cubicBezTo>
                  <a:cubicBezTo>
                    <a:pt x="152" y="246"/>
                    <a:pt x="152" y="261"/>
                    <a:pt x="149" y="273"/>
                  </a:cubicBezTo>
                  <a:cubicBezTo>
                    <a:pt x="140" y="282"/>
                    <a:pt x="131" y="294"/>
                    <a:pt x="119" y="303"/>
                  </a:cubicBezTo>
                  <a:cubicBezTo>
                    <a:pt x="107" y="303"/>
                    <a:pt x="95" y="306"/>
                    <a:pt x="84" y="309"/>
                  </a:cubicBezTo>
                  <a:cubicBezTo>
                    <a:pt x="69" y="321"/>
                    <a:pt x="60" y="321"/>
                    <a:pt x="48" y="324"/>
                  </a:cubicBezTo>
                  <a:cubicBezTo>
                    <a:pt x="42" y="327"/>
                    <a:pt x="39" y="330"/>
                    <a:pt x="33" y="333"/>
                  </a:cubicBezTo>
                  <a:cubicBezTo>
                    <a:pt x="27" y="339"/>
                    <a:pt x="21" y="342"/>
                    <a:pt x="18" y="342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43" name="Freeform 32"/>
            <p:cNvSpPr>
              <a:spLocks/>
            </p:cNvSpPr>
            <p:nvPr/>
          </p:nvSpPr>
          <p:spPr bwMode="auto">
            <a:xfrm>
              <a:off x="7577764" y="2472638"/>
              <a:ext cx="185197" cy="122642"/>
            </a:xfrm>
            <a:custGeom>
              <a:avLst/>
              <a:gdLst>
                <a:gd name="T0" fmla="*/ 227239372 w 317"/>
                <a:gd name="T1" fmla="*/ 1465997607 h 213"/>
                <a:gd name="T2" fmla="*/ 144608055 w 317"/>
                <a:gd name="T3" fmla="*/ 1404054776 h 213"/>
                <a:gd name="T4" fmla="*/ 0 w 317"/>
                <a:gd name="T5" fmla="*/ 1280166162 h 213"/>
                <a:gd name="T6" fmla="*/ 20657168 w 317"/>
                <a:gd name="T7" fmla="*/ 1197576595 h 213"/>
                <a:gd name="T8" fmla="*/ 123948267 w 317"/>
                <a:gd name="T9" fmla="*/ 1094335045 h 213"/>
                <a:gd name="T10" fmla="*/ 123948267 w 317"/>
                <a:gd name="T11" fmla="*/ 991096119 h 213"/>
                <a:gd name="T12" fmla="*/ 41316960 w 317"/>
                <a:gd name="T13" fmla="*/ 702026076 h 213"/>
                <a:gd name="T14" fmla="*/ 61974134 w 317"/>
                <a:gd name="T15" fmla="*/ 578140250 h 213"/>
                <a:gd name="T16" fmla="*/ 227239372 w 317"/>
                <a:gd name="T17" fmla="*/ 392309133 h 213"/>
                <a:gd name="T18" fmla="*/ 516455481 w 317"/>
                <a:gd name="T19" fmla="*/ 165181798 h 213"/>
                <a:gd name="T20" fmla="*/ 681720657 w 317"/>
                <a:gd name="T21" fmla="*/ 0 h 213"/>
                <a:gd name="T22" fmla="*/ 723037772 w 317"/>
                <a:gd name="T23" fmla="*/ 123888327 h 213"/>
                <a:gd name="T24" fmla="*/ 805669048 w 317"/>
                <a:gd name="T25" fmla="*/ 123888327 h 213"/>
                <a:gd name="T26" fmla="*/ 846985998 w 317"/>
                <a:gd name="T27" fmla="*/ 41296105 h 213"/>
                <a:gd name="T28" fmla="*/ 1012251175 w 317"/>
                <a:gd name="T29" fmla="*/ 20646741 h 213"/>
                <a:gd name="T30" fmla="*/ 1046682404 w 317"/>
                <a:gd name="T31" fmla="*/ 103238967 h 213"/>
                <a:gd name="T32" fmla="*/ 1046682404 w 317"/>
                <a:gd name="T33" fmla="*/ 268423389 h 213"/>
                <a:gd name="T34" fmla="*/ 1315238644 w 317"/>
                <a:gd name="T35" fmla="*/ 371662397 h 213"/>
                <a:gd name="T36" fmla="*/ 1439189822 w 317"/>
                <a:gd name="T37" fmla="*/ 144535062 h 213"/>
                <a:gd name="T38" fmla="*/ 1501163936 w 317"/>
                <a:gd name="T39" fmla="*/ 82592211 h 213"/>
                <a:gd name="T40" fmla="*/ 1687086275 w 317"/>
                <a:gd name="T41" fmla="*/ 41296105 h 213"/>
                <a:gd name="T42" fmla="*/ 1831694289 w 317"/>
                <a:gd name="T43" fmla="*/ 103238967 h 213"/>
                <a:gd name="T44" fmla="*/ 2147483647 w 317"/>
                <a:gd name="T45" fmla="*/ 103238967 h 213"/>
                <a:gd name="T46" fmla="*/ 2147483647 w 317"/>
                <a:gd name="T47" fmla="*/ 123888327 h 213"/>
                <a:gd name="T48" fmla="*/ 2147483647 w 317"/>
                <a:gd name="T49" fmla="*/ 144535062 h 213"/>
                <a:gd name="T50" fmla="*/ 2147483647 w 317"/>
                <a:gd name="T51" fmla="*/ 247774030 h 213"/>
                <a:gd name="T52" fmla="*/ 2038276415 w 317"/>
                <a:gd name="T53" fmla="*/ 268423389 h 213"/>
                <a:gd name="T54" fmla="*/ 1707746062 w 317"/>
                <a:gd name="T55" fmla="*/ 536844155 h 213"/>
                <a:gd name="T56" fmla="*/ 1645771949 w 317"/>
                <a:gd name="T57" fmla="*/ 578140250 h 213"/>
                <a:gd name="T58" fmla="*/ 1521821099 w 317"/>
                <a:gd name="T59" fmla="*/ 640083081 h 213"/>
                <a:gd name="T60" fmla="*/ 1501163936 w 317"/>
                <a:gd name="T61" fmla="*/ 660732440 h 213"/>
                <a:gd name="T62" fmla="*/ 1501163936 w 317"/>
                <a:gd name="T63" fmla="*/ 784618266 h 213"/>
                <a:gd name="T64" fmla="*/ 1377213085 w 317"/>
                <a:gd name="T65" fmla="*/ 949800024 h 213"/>
                <a:gd name="T66" fmla="*/ 1335898431 w 317"/>
                <a:gd name="T67" fmla="*/ 1094335045 h 213"/>
                <a:gd name="T68" fmla="*/ 1170633254 w 317"/>
                <a:gd name="T69" fmla="*/ 1197576595 h 213"/>
                <a:gd name="T70" fmla="*/ 1067342191 w 317"/>
                <a:gd name="T71" fmla="*/ 1383405416 h 213"/>
                <a:gd name="T72" fmla="*/ 1067342191 w 317"/>
                <a:gd name="T73" fmla="*/ 1362758352 h 213"/>
                <a:gd name="T74" fmla="*/ 1032910962 w 317"/>
                <a:gd name="T75" fmla="*/ 1342108993 h 213"/>
                <a:gd name="T76" fmla="*/ 991594012 w 317"/>
                <a:gd name="T77" fmla="*/ 1342108993 h 213"/>
                <a:gd name="T78" fmla="*/ 888302948 w 317"/>
                <a:gd name="T79" fmla="*/ 1424701511 h 213"/>
                <a:gd name="T80" fmla="*/ 723037772 w 317"/>
                <a:gd name="T81" fmla="*/ 1424701511 h 213"/>
                <a:gd name="T82" fmla="*/ 723037772 w 317"/>
                <a:gd name="T83" fmla="*/ 1383405416 h 213"/>
                <a:gd name="T84" fmla="*/ 578429594 w 317"/>
                <a:gd name="T85" fmla="*/ 1238870067 h 213"/>
                <a:gd name="T86" fmla="*/ 495798318 w 317"/>
                <a:gd name="T87" fmla="*/ 1238870067 h 213"/>
                <a:gd name="T88" fmla="*/ 454481368 w 317"/>
                <a:gd name="T89" fmla="*/ 1383405416 h 213"/>
                <a:gd name="T90" fmla="*/ 371847467 w 317"/>
                <a:gd name="T91" fmla="*/ 1424701511 h 213"/>
                <a:gd name="T92" fmla="*/ 227239372 w 317"/>
                <a:gd name="T93" fmla="*/ 1465997607 h 21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17"/>
                <a:gd name="T142" fmla="*/ 0 h 213"/>
                <a:gd name="T143" fmla="*/ 317 w 317"/>
                <a:gd name="T144" fmla="*/ 213 h 21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17" h="213">
                  <a:moveTo>
                    <a:pt x="33" y="213"/>
                  </a:moveTo>
                  <a:cubicBezTo>
                    <a:pt x="30" y="210"/>
                    <a:pt x="24" y="207"/>
                    <a:pt x="21" y="204"/>
                  </a:cubicBezTo>
                  <a:cubicBezTo>
                    <a:pt x="12" y="198"/>
                    <a:pt x="6" y="192"/>
                    <a:pt x="0" y="186"/>
                  </a:cubicBezTo>
                  <a:cubicBezTo>
                    <a:pt x="0" y="180"/>
                    <a:pt x="3" y="177"/>
                    <a:pt x="3" y="174"/>
                  </a:cubicBezTo>
                  <a:cubicBezTo>
                    <a:pt x="9" y="171"/>
                    <a:pt x="15" y="165"/>
                    <a:pt x="18" y="159"/>
                  </a:cubicBezTo>
                  <a:cubicBezTo>
                    <a:pt x="18" y="153"/>
                    <a:pt x="18" y="147"/>
                    <a:pt x="18" y="144"/>
                  </a:cubicBezTo>
                  <a:cubicBezTo>
                    <a:pt x="18" y="135"/>
                    <a:pt x="9" y="105"/>
                    <a:pt x="6" y="102"/>
                  </a:cubicBezTo>
                  <a:cubicBezTo>
                    <a:pt x="6" y="93"/>
                    <a:pt x="3" y="90"/>
                    <a:pt x="9" y="84"/>
                  </a:cubicBezTo>
                  <a:cubicBezTo>
                    <a:pt x="15" y="72"/>
                    <a:pt x="24" y="66"/>
                    <a:pt x="33" y="57"/>
                  </a:cubicBezTo>
                  <a:cubicBezTo>
                    <a:pt x="42" y="39"/>
                    <a:pt x="57" y="36"/>
                    <a:pt x="75" y="24"/>
                  </a:cubicBezTo>
                  <a:cubicBezTo>
                    <a:pt x="84" y="15"/>
                    <a:pt x="90" y="6"/>
                    <a:pt x="99" y="0"/>
                  </a:cubicBezTo>
                  <a:cubicBezTo>
                    <a:pt x="102" y="6"/>
                    <a:pt x="102" y="12"/>
                    <a:pt x="105" y="18"/>
                  </a:cubicBezTo>
                  <a:cubicBezTo>
                    <a:pt x="108" y="18"/>
                    <a:pt x="114" y="18"/>
                    <a:pt x="117" y="18"/>
                  </a:cubicBezTo>
                  <a:cubicBezTo>
                    <a:pt x="120" y="15"/>
                    <a:pt x="120" y="9"/>
                    <a:pt x="123" y="6"/>
                  </a:cubicBezTo>
                  <a:cubicBezTo>
                    <a:pt x="129" y="6"/>
                    <a:pt x="138" y="9"/>
                    <a:pt x="147" y="3"/>
                  </a:cubicBezTo>
                  <a:cubicBezTo>
                    <a:pt x="147" y="6"/>
                    <a:pt x="150" y="12"/>
                    <a:pt x="152" y="15"/>
                  </a:cubicBezTo>
                  <a:cubicBezTo>
                    <a:pt x="152" y="24"/>
                    <a:pt x="152" y="30"/>
                    <a:pt x="152" y="39"/>
                  </a:cubicBezTo>
                  <a:cubicBezTo>
                    <a:pt x="158" y="45"/>
                    <a:pt x="173" y="54"/>
                    <a:pt x="191" y="54"/>
                  </a:cubicBezTo>
                  <a:cubicBezTo>
                    <a:pt x="197" y="42"/>
                    <a:pt x="203" y="33"/>
                    <a:pt x="209" y="21"/>
                  </a:cubicBezTo>
                  <a:cubicBezTo>
                    <a:pt x="212" y="18"/>
                    <a:pt x="215" y="15"/>
                    <a:pt x="218" y="12"/>
                  </a:cubicBezTo>
                  <a:cubicBezTo>
                    <a:pt x="224" y="9"/>
                    <a:pt x="233" y="6"/>
                    <a:pt x="245" y="6"/>
                  </a:cubicBezTo>
                  <a:cubicBezTo>
                    <a:pt x="251" y="9"/>
                    <a:pt x="260" y="12"/>
                    <a:pt x="266" y="15"/>
                  </a:cubicBezTo>
                  <a:cubicBezTo>
                    <a:pt x="281" y="15"/>
                    <a:pt x="299" y="15"/>
                    <a:pt x="314" y="15"/>
                  </a:cubicBezTo>
                  <a:cubicBezTo>
                    <a:pt x="314" y="15"/>
                    <a:pt x="317" y="15"/>
                    <a:pt x="317" y="18"/>
                  </a:cubicBezTo>
                  <a:cubicBezTo>
                    <a:pt x="317" y="18"/>
                    <a:pt x="317" y="18"/>
                    <a:pt x="317" y="21"/>
                  </a:cubicBezTo>
                  <a:cubicBezTo>
                    <a:pt x="314" y="27"/>
                    <a:pt x="314" y="30"/>
                    <a:pt x="314" y="36"/>
                  </a:cubicBezTo>
                  <a:cubicBezTo>
                    <a:pt x="308" y="36"/>
                    <a:pt x="302" y="39"/>
                    <a:pt x="296" y="39"/>
                  </a:cubicBezTo>
                  <a:cubicBezTo>
                    <a:pt x="281" y="48"/>
                    <a:pt x="254" y="60"/>
                    <a:pt x="248" y="78"/>
                  </a:cubicBezTo>
                  <a:cubicBezTo>
                    <a:pt x="245" y="81"/>
                    <a:pt x="242" y="81"/>
                    <a:pt x="239" y="84"/>
                  </a:cubicBezTo>
                  <a:cubicBezTo>
                    <a:pt x="233" y="90"/>
                    <a:pt x="227" y="90"/>
                    <a:pt x="221" y="93"/>
                  </a:cubicBezTo>
                  <a:cubicBezTo>
                    <a:pt x="218" y="96"/>
                    <a:pt x="218" y="96"/>
                    <a:pt x="218" y="96"/>
                  </a:cubicBezTo>
                  <a:cubicBezTo>
                    <a:pt x="218" y="102"/>
                    <a:pt x="218" y="108"/>
                    <a:pt x="218" y="114"/>
                  </a:cubicBezTo>
                  <a:cubicBezTo>
                    <a:pt x="212" y="120"/>
                    <a:pt x="203" y="129"/>
                    <a:pt x="200" y="138"/>
                  </a:cubicBezTo>
                  <a:cubicBezTo>
                    <a:pt x="197" y="144"/>
                    <a:pt x="200" y="153"/>
                    <a:pt x="194" y="159"/>
                  </a:cubicBezTo>
                  <a:cubicBezTo>
                    <a:pt x="179" y="159"/>
                    <a:pt x="176" y="168"/>
                    <a:pt x="170" y="174"/>
                  </a:cubicBezTo>
                  <a:cubicBezTo>
                    <a:pt x="167" y="183"/>
                    <a:pt x="164" y="195"/>
                    <a:pt x="155" y="201"/>
                  </a:cubicBezTo>
                  <a:cubicBezTo>
                    <a:pt x="155" y="198"/>
                    <a:pt x="155" y="198"/>
                    <a:pt x="155" y="198"/>
                  </a:cubicBezTo>
                  <a:cubicBezTo>
                    <a:pt x="152" y="198"/>
                    <a:pt x="152" y="195"/>
                    <a:pt x="150" y="195"/>
                  </a:cubicBezTo>
                  <a:cubicBezTo>
                    <a:pt x="147" y="195"/>
                    <a:pt x="144" y="195"/>
                    <a:pt x="144" y="195"/>
                  </a:cubicBezTo>
                  <a:cubicBezTo>
                    <a:pt x="138" y="198"/>
                    <a:pt x="135" y="204"/>
                    <a:pt x="129" y="207"/>
                  </a:cubicBezTo>
                  <a:cubicBezTo>
                    <a:pt x="123" y="210"/>
                    <a:pt x="111" y="207"/>
                    <a:pt x="105" y="207"/>
                  </a:cubicBezTo>
                  <a:cubicBezTo>
                    <a:pt x="105" y="204"/>
                    <a:pt x="105" y="201"/>
                    <a:pt x="105" y="201"/>
                  </a:cubicBezTo>
                  <a:cubicBezTo>
                    <a:pt x="96" y="192"/>
                    <a:pt x="90" y="186"/>
                    <a:pt x="84" y="180"/>
                  </a:cubicBezTo>
                  <a:cubicBezTo>
                    <a:pt x="78" y="180"/>
                    <a:pt x="75" y="180"/>
                    <a:pt x="72" y="180"/>
                  </a:cubicBezTo>
                  <a:cubicBezTo>
                    <a:pt x="69" y="186"/>
                    <a:pt x="69" y="192"/>
                    <a:pt x="66" y="201"/>
                  </a:cubicBezTo>
                  <a:cubicBezTo>
                    <a:pt x="60" y="201"/>
                    <a:pt x="54" y="204"/>
                    <a:pt x="54" y="207"/>
                  </a:cubicBezTo>
                  <a:cubicBezTo>
                    <a:pt x="45" y="207"/>
                    <a:pt x="39" y="213"/>
                    <a:pt x="33" y="213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44" name="Freeform 33"/>
            <p:cNvSpPr>
              <a:spLocks/>
            </p:cNvSpPr>
            <p:nvPr/>
          </p:nvSpPr>
          <p:spPr bwMode="auto">
            <a:xfrm>
              <a:off x="7568928" y="2381352"/>
              <a:ext cx="68565" cy="75606"/>
            </a:xfrm>
            <a:custGeom>
              <a:avLst/>
              <a:gdLst>
                <a:gd name="T0" fmla="*/ 685952440 w 117"/>
                <a:gd name="T1" fmla="*/ 905892900 h 131"/>
                <a:gd name="T2" fmla="*/ 561233126 w 117"/>
                <a:gd name="T3" fmla="*/ 802165245 h 131"/>
                <a:gd name="T4" fmla="*/ 498874786 w 117"/>
                <a:gd name="T5" fmla="*/ 594707141 h 131"/>
                <a:gd name="T6" fmla="*/ 478087795 w 117"/>
                <a:gd name="T7" fmla="*/ 553216078 h 131"/>
                <a:gd name="T8" fmla="*/ 228651718 w 117"/>
                <a:gd name="T9" fmla="*/ 490979485 h 131"/>
                <a:gd name="T10" fmla="*/ 187077736 w 117"/>
                <a:gd name="T11" fmla="*/ 532470547 h 131"/>
                <a:gd name="T12" fmla="*/ 20786996 w 117"/>
                <a:gd name="T13" fmla="*/ 532470547 h 131"/>
                <a:gd name="T14" fmla="*/ 83145352 w 117"/>
                <a:gd name="T15" fmla="*/ 407997361 h 131"/>
                <a:gd name="T16" fmla="*/ 145506345 w 117"/>
                <a:gd name="T17" fmla="*/ 345760768 h 131"/>
                <a:gd name="T18" fmla="*/ 124719355 w 117"/>
                <a:gd name="T19" fmla="*/ 179796438 h 131"/>
                <a:gd name="T20" fmla="*/ 291010059 w 117"/>
                <a:gd name="T21" fmla="*/ 82982145 h 131"/>
                <a:gd name="T22" fmla="*/ 353371114 w 117"/>
                <a:gd name="T23" fmla="*/ 0 h 131"/>
                <a:gd name="T24" fmla="*/ 415729454 w 117"/>
                <a:gd name="T25" fmla="*/ 62236614 h 131"/>
                <a:gd name="T26" fmla="*/ 540448768 w 117"/>
                <a:gd name="T27" fmla="*/ 62236614 h 131"/>
                <a:gd name="T28" fmla="*/ 561233126 w 117"/>
                <a:gd name="T29" fmla="*/ 304269624 h 131"/>
                <a:gd name="T30" fmla="*/ 623594099 w 117"/>
                <a:gd name="T31" fmla="*/ 325015155 h 131"/>
                <a:gd name="T32" fmla="*/ 665165449 w 117"/>
                <a:gd name="T33" fmla="*/ 345760768 h 131"/>
                <a:gd name="T34" fmla="*/ 748313577 w 117"/>
                <a:gd name="T35" fmla="*/ 573961609 h 131"/>
                <a:gd name="T36" fmla="*/ 810671918 w 117"/>
                <a:gd name="T37" fmla="*/ 677691894 h 131"/>
                <a:gd name="T38" fmla="*/ 685952440 w 117"/>
                <a:gd name="T39" fmla="*/ 760674183 h 131"/>
                <a:gd name="T40" fmla="*/ 685952440 w 117"/>
                <a:gd name="T41" fmla="*/ 905892900 h 13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17"/>
                <a:gd name="T64" fmla="*/ 0 h 131"/>
                <a:gd name="T65" fmla="*/ 117 w 117"/>
                <a:gd name="T66" fmla="*/ 131 h 13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17" h="131">
                  <a:moveTo>
                    <a:pt x="99" y="131"/>
                  </a:moveTo>
                  <a:cubicBezTo>
                    <a:pt x="90" y="125"/>
                    <a:pt x="81" y="116"/>
                    <a:pt x="81" y="116"/>
                  </a:cubicBezTo>
                  <a:cubicBezTo>
                    <a:pt x="72" y="104"/>
                    <a:pt x="75" y="92"/>
                    <a:pt x="72" y="86"/>
                  </a:cubicBezTo>
                  <a:cubicBezTo>
                    <a:pt x="72" y="86"/>
                    <a:pt x="72" y="83"/>
                    <a:pt x="69" y="80"/>
                  </a:cubicBezTo>
                  <a:cubicBezTo>
                    <a:pt x="54" y="68"/>
                    <a:pt x="51" y="65"/>
                    <a:pt x="33" y="71"/>
                  </a:cubicBezTo>
                  <a:cubicBezTo>
                    <a:pt x="30" y="74"/>
                    <a:pt x="30" y="74"/>
                    <a:pt x="27" y="77"/>
                  </a:cubicBezTo>
                  <a:cubicBezTo>
                    <a:pt x="18" y="77"/>
                    <a:pt x="9" y="77"/>
                    <a:pt x="3" y="77"/>
                  </a:cubicBezTo>
                  <a:cubicBezTo>
                    <a:pt x="3" y="68"/>
                    <a:pt x="0" y="62"/>
                    <a:pt x="12" y="59"/>
                  </a:cubicBezTo>
                  <a:cubicBezTo>
                    <a:pt x="15" y="56"/>
                    <a:pt x="18" y="53"/>
                    <a:pt x="21" y="50"/>
                  </a:cubicBezTo>
                  <a:cubicBezTo>
                    <a:pt x="27" y="38"/>
                    <a:pt x="18" y="32"/>
                    <a:pt x="18" y="26"/>
                  </a:cubicBezTo>
                  <a:cubicBezTo>
                    <a:pt x="27" y="23"/>
                    <a:pt x="36" y="18"/>
                    <a:pt x="42" y="12"/>
                  </a:cubicBezTo>
                  <a:cubicBezTo>
                    <a:pt x="45" y="3"/>
                    <a:pt x="45" y="0"/>
                    <a:pt x="51" y="0"/>
                  </a:cubicBezTo>
                  <a:cubicBezTo>
                    <a:pt x="54" y="3"/>
                    <a:pt x="57" y="6"/>
                    <a:pt x="60" y="9"/>
                  </a:cubicBezTo>
                  <a:cubicBezTo>
                    <a:pt x="66" y="9"/>
                    <a:pt x="72" y="9"/>
                    <a:pt x="78" y="9"/>
                  </a:cubicBezTo>
                  <a:cubicBezTo>
                    <a:pt x="75" y="15"/>
                    <a:pt x="75" y="35"/>
                    <a:pt x="81" y="44"/>
                  </a:cubicBezTo>
                  <a:cubicBezTo>
                    <a:pt x="84" y="47"/>
                    <a:pt x="87" y="47"/>
                    <a:pt x="90" y="47"/>
                  </a:cubicBezTo>
                  <a:cubicBezTo>
                    <a:pt x="90" y="47"/>
                    <a:pt x="93" y="50"/>
                    <a:pt x="96" y="50"/>
                  </a:cubicBezTo>
                  <a:cubicBezTo>
                    <a:pt x="96" y="65"/>
                    <a:pt x="90" y="71"/>
                    <a:pt x="108" y="83"/>
                  </a:cubicBezTo>
                  <a:cubicBezTo>
                    <a:pt x="111" y="89"/>
                    <a:pt x="114" y="92"/>
                    <a:pt x="117" y="98"/>
                  </a:cubicBezTo>
                  <a:cubicBezTo>
                    <a:pt x="105" y="104"/>
                    <a:pt x="105" y="101"/>
                    <a:pt x="99" y="110"/>
                  </a:cubicBezTo>
                  <a:cubicBezTo>
                    <a:pt x="99" y="116"/>
                    <a:pt x="99" y="125"/>
                    <a:pt x="99" y="131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45" name="Freeform 34"/>
            <p:cNvSpPr>
              <a:spLocks/>
            </p:cNvSpPr>
            <p:nvPr/>
          </p:nvSpPr>
          <p:spPr bwMode="auto">
            <a:xfrm>
              <a:off x="7762960" y="2889344"/>
              <a:ext cx="47359" cy="111842"/>
            </a:xfrm>
            <a:custGeom>
              <a:avLst/>
              <a:gdLst>
                <a:gd name="T0" fmla="*/ 268986804 w 81"/>
                <a:gd name="T1" fmla="*/ 1338556246 h 194"/>
                <a:gd name="T2" fmla="*/ 165531543 w 81"/>
                <a:gd name="T3" fmla="*/ 1193659935 h 194"/>
                <a:gd name="T4" fmla="*/ 103457887 w 81"/>
                <a:gd name="T5" fmla="*/ 1172961212 h 194"/>
                <a:gd name="T6" fmla="*/ 20692099 w 81"/>
                <a:gd name="T7" fmla="*/ 1007366178 h 194"/>
                <a:gd name="T8" fmla="*/ 0 w 81"/>
                <a:gd name="T9" fmla="*/ 931469111 h 194"/>
                <a:gd name="T10" fmla="*/ 41381573 w 81"/>
                <a:gd name="T11" fmla="*/ 745175354 h 194"/>
                <a:gd name="T12" fmla="*/ 124147355 w 81"/>
                <a:gd name="T13" fmla="*/ 496782639 h 194"/>
                <a:gd name="T14" fmla="*/ 144839449 w 81"/>
                <a:gd name="T15" fmla="*/ 372587677 h 194"/>
                <a:gd name="T16" fmla="*/ 289678898 w 81"/>
                <a:gd name="T17" fmla="*/ 103496281 h 194"/>
                <a:gd name="T18" fmla="*/ 413826294 w 81"/>
                <a:gd name="T19" fmla="*/ 0 h 194"/>
                <a:gd name="T20" fmla="*/ 517284140 w 81"/>
                <a:gd name="T21" fmla="*/ 0 h 194"/>
                <a:gd name="T22" fmla="*/ 537973608 w 81"/>
                <a:gd name="T23" fmla="*/ 144896352 h 194"/>
                <a:gd name="T24" fmla="*/ 517284140 w 81"/>
                <a:gd name="T25" fmla="*/ 600281506 h 194"/>
                <a:gd name="T26" fmla="*/ 351752637 w 81"/>
                <a:gd name="T27" fmla="*/ 931469111 h 194"/>
                <a:gd name="T28" fmla="*/ 331060461 w 81"/>
                <a:gd name="T29" fmla="*/ 986667456 h 194"/>
                <a:gd name="T30" fmla="*/ 310370993 w 81"/>
                <a:gd name="T31" fmla="*/ 1317857524 h 194"/>
                <a:gd name="T32" fmla="*/ 268986804 w 81"/>
                <a:gd name="T33" fmla="*/ 1338556246 h 19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1"/>
                <a:gd name="T52" fmla="*/ 0 h 194"/>
                <a:gd name="T53" fmla="*/ 81 w 81"/>
                <a:gd name="T54" fmla="*/ 194 h 19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1" h="194">
                  <a:moveTo>
                    <a:pt x="39" y="194"/>
                  </a:moveTo>
                  <a:cubicBezTo>
                    <a:pt x="33" y="185"/>
                    <a:pt x="30" y="179"/>
                    <a:pt x="24" y="173"/>
                  </a:cubicBezTo>
                  <a:cubicBezTo>
                    <a:pt x="21" y="170"/>
                    <a:pt x="18" y="170"/>
                    <a:pt x="15" y="170"/>
                  </a:cubicBezTo>
                  <a:cubicBezTo>
                    <a:pt x="12" y="158"/>
                    <a:pt x="6" y="149"/>
                    <a:pt x="3" y="146"/>
                  </a:cubicBezTo>
                  <a:cubicBezTo>
                    <a:pt x="0" y="143"/>
                    <a:pt x="0" y="141"/>
                    <a:pt x="0" y="135"/>
                  </a:cubicBezTo>
                  <a:cubicBezTo>
                    <a:pt x="3" y="126"/>
                    <a:pt x="6" y="117"/>
                    <a:pt x="6" y="108"/>
                  </a:cubicBezTo>
                  <a:cubicBezTo>
                    <a:pt x="0" y="87"/>
                    <a:pt x="9" y="84"/>
                    <a:pt x="18" y="72"/>
                  </a:cubicBezTo>
                  <a:cubicBezTo>
                    <a:pt x="18" y="66"/>
                    <a:pt x="18" y="60"/>
                    <a:pt x="21" y="54"/>
                  </a:cubicBezTo>
                  <a:cubicBezTo>
                    <a:pt x="27" y="36"/>
                    <a:pt x="30" y="27"/>
                    <a:pt x="42" y="15"/>
                  </a:cubicBezTo>
                  <a:cubicBezTo>
                    <a:pt x="48" y="9"/>
                    <a:pt x="54" y="6"/>
                    <a:pt x="60" y="0"/>
                  </a:cubicBezTo>
                  <a:cubicBezTo>
                    <a:pt x="66" y="0"/>
                    <a:pt x="69" y="0"/>
                    <a:pt x="75" y="0"/>
                  </a:cubicBezTo>
                  <a:cubicBezTo>
                    <a:pt x="75" y="3"/>
                    <a:pt x="81" y="15"/>
                    <a:pt x="78" y="21"/>
                  </a:cubicBezTo>
                  <a:cubicBezTo>
                    <a:pt x="69" y="36"/>
                    <a:pt x="75" y="63"/>
                    <a:pt x="75" y="87"/>
                  </a:cubicBezTo>
                  <a:cubicBezTo>
                    <a:pt x="69" y="102"/>
                    <a:pt x="60" y="120"/>
                    <a:pt x="51" y="135"/>
                  </a:cubicBezTo>
                  <a:cubicBezTo>
                    <a:pt x="51" y="138"/>
                    <a:pt x="51" y="141"/>
                    <a:pt x="48" y="143"/>
                  </a:cubicBezTo>
                  <a:cubicBezTo>
                    <a:pt x="48" y="158"/>
                    <a:pt x="45" y="176"/>
                    <a:pt x="45" y="191"/>
                  </a:cubicBezTo>
                  <a:cubicBezTo>
                    <a:pt x="42" y="191"/>
                    <a:pt x="39" y="194"/>
                    <a:pt x="39" y="194"/>
                  </a:cubicBezTo>
                  <a:close/>
                </a:path>
              </a:pathLst>
            </a:custGeom>
            <a:solidFill>
              <a:schemeClr val="bg2"/>
            </a:solidFill>
            <a:ln w="7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92" t="36837" r="41110" b="37978"/>
          <a:stretch/>
        </p:blipFill>
        <p:spPr>
          <a:xfrm>
            <a:off x="3533828" y="3306012"/>
            <a:ext cx="646005" cy="602676"/>
          </a:xfrm>
          <a:prstGeom prst="rect">
            <a:avLst/>
          </a:prstGeom>
        </p:spPr>
      </p:pic>
      <p:sp>
        <p:nvSpPr>
          <p:cNvPr id="101" name="Isosceles Triangle 100"/>
          <p:cNvSpPr/>
          <p:nvPr/>
        </p:nvSpPr>
        <p:spPr>
          <a:xfrm rot="5400000" flipV="1">
            <a:off x="3240026" y="2860332"/>
            <a:ext cx="295151" cy="287680"/>
          </a:xfrm>
          <a:prstGeom prst="triangle">
            <a:avLst>
              <a:gd name="adj" fmla="val 52747"/>
            </a:avLst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noProof="0" dirty="0" err="1"/>
          </a:p>
        </p:txBody>
      </p:sp>
      <p:sp>
        <p:nvSpPr>
          <p:cNvPr id="102" name="Rectangle 101"/>
          <p:cNvSpPr/>
          <p:nvPr/>
        </p:nvSpPr>
        <p:spPr>
          <a:xfrm>
            <a:off x="3531441" y="2689003"/>
            <a:ext cx="1102934" cy="1207493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400" b="1" noProof="0" dirty="0"/>
          </a:p>
        </p:txBody>
      </p:sp>
      <p:pic>
        <p:nvPicPr>
          <p:cNvPr id="103" name="Picture 10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268" y="2894066"/>
            <a:ext cx="1262224" cy="841484"/>
          </a:xfrm>
          <a:prstGeom prst="rect">
            <a:avLst/>
          </a:prstGeom>
        </p:spPr>
      </p:pic>
      <p:grpSp>
        <p:nvGrpSpPr>
          <p:cNvPr id="109" name="Group 108"/>
          <p:cNvGrpSpPr/>
          <p:nvPr/>
        </p:nvGrpSpPr>
        <p:grpSpPr>
          <a:xfrm>
            <a:off x="3257487" y="3996521"/>
            <a:ext cx="1369437" cy="1219685"/>
            <a:chOff x="342405" y="1724483"/>
            <a:chExt cx="1369437" cy="1219685"/>
          </a:xfrm>
        </p:grpSpPr>
        <p:pic>
          <p:nvPicPr>
            <p:cNvPr id="110" name="Picture 10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892" t="36837" r="41110" b="37978"/>
            <a:stretch/>
          </p:blipFill>
          <p:spPr>
            <a:xfrm>
              <a:off x="611295" y="2341492"/>
              <a:ext cx="646005" cy="602676"/>
            </a:xfrm>
            <a:prstGeom prst="rect">
              <a:avLst/>
            </a:prstGeom>
          </p:spPr>
        </p:pic>
        <p:sp>
          <p:nvSpPr>
            <p:cNvPr id="111" name="Isosceles Triangle 110"/>
            <p:cNvSpPr/>
            <p:nvPr/>
          </p:nvSpPr>
          <p:spPr>
            <a:xfrm rot="5400000" flipV="1">
              <a:off x="338669" y="2502134"/>
              <a:ext cx="295151" cy="287680"/>
            </a:xfrm>
            <a:prstGeom prst="triangle">
              <a:avLst>
                <a:gd name="adj" fmla="val 52747"/>
              </a:avLst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noProof="0" dirty="0" err="1"/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608908" y="1724483"/>
              <a:ext cx="1102934" cy="1207493"/>
            </a:xfrm>
            <a:prstGeom prst="rect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sz="1400" b="1" noProof="0" dirty="0"/>
            </a:p>
          </p:txBody>
        </p:sp>
      </p:grpSp>
      <p:pic>
        <p:nvPicPr>
          <p:cNvPr id="116" name="Picture 11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92" t="36837" r="41110" b="37978"/>
          <a:stretch/>
        </p:blipFill>
        <p:spPr>
          <a:xfrm>
            <a:off x="656298" y="1734171"/>
            <a:ext cx="646005" cy="602676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6981" y="4154658"/>
            <a:ext cx="1316273" cy="91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2608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扎根中国，</a:t>
            </a:r>
            <a:r>
              <a:rPr lang="en-US" altLang="zh-CN" dirty="0"/>
              <a:t>24/7</a:t>
            </a:r>
            <a:r>
              <a:rPr lang="zh-CN" altLang="en-US" dirty="0"/>
              <a:t>全球服务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2660435" y="1447281"/>
            <a:ext cx="5955493" cy="4468155"/>
            <a:chOff x="3247333" y="1476698"/>
            <a:chExt cx="5955493" cy="4468155"/>
          </a:xfrm>
        </p:grpSpPr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7933859" y="2677098"/>
              <a:ext cx="699374" cy="594970"/>
            </a:xfrm>
            <a:custGeom>
              <a:avLst/>
              <a:gdLst>
                <a:gd name="T0" fmla="*/ 821718287 w 293"/>
                <a:gd name="T1" fmla="*/ 1897216634 h 275"/>
                <a:gd name="T2" fmla="*/ 801003548 w 293"/>
                <a:gd name="T3" fmla="*/ 1897216634 h 275"/>
                <a:gd name="T4" fmla="*/ 904582502 w 293"/>
                <a:gd name="T5" fmla="*/ 1773034183 h 275"/>
                <a:gd name="T6" fmla="*/ 946011981 w 293"/>
                <a:gd name="T7" fmla="*/ 1710944271 h 275"/>
                <a:gd name="T8" fmla="*/ 946011981 w 293"/>
                <a:gd name="T9" fmla="*/ 1648854359 h 275"/>
                <a:gd name="T10" fmla="*/ 863150395 w 293"/>
                <a:gd name="T11" fmla="*/ 1607459334 h 275"/>
                <a:gd name="T12" fmla="*/ 966726721 w 293"/>
                <a:gd name="T13" fmla="*/ 1379794572 h 275"/>
                <a:gd name="T14" fmla="*/ 987444088 w 293"/>
                <a:gd name="T15" fmla="*/ 1179724415 h 275"/>
                <a:gd name="T16" fmla="*/ 863150395 w 293"/>
                <a:gd name="T17" fmla="*/ 1034844452 h 275"/>
                <a:gd name="T18" fmla="*/ 801003548 w 293"/>
                <a:gd name="T19" fmla="*/ 1034844452 h 275"/>
                <a:gd name="T20" fmla="*/ 676709690 w 293"/>
                <a:gd name="T21" fmla="*/ 1055541965 h 275"/>
                <a:gd name="T22" fmla="*/ 510983889 w 293"/>
                <a:gd name="T23" fmla="*/ 1241814327 h 275"/>
                <a:gd name="T24" fmla="*/ 365975456 w 293"/>
                <a:gd name="T25" fmla="*/ 1441884484 h 275"/>
                <a:gd name="T26" fmla="*/ 124293735 w 293"/>
                <a:gd name="T27" fmla="*/ 1262511840 h 275"/>
                <a:gd name="T28" fmla="*/ 0 w 293"/>
                <a:gd name="T29" fmla="*/ 1200419301 h 275"/>
                <a:gd name="T30" fmla="*/ 62146867 w 293"/>
                <a:gd name="T31" fmla="*/ 1096936990 h 275"/>
                <a:gd name="T32" fmla="*/ 138102685 w 293"/>
                <a:gd name="T33" fmla="*/ 1014149565 h 275"/>
                <a:gd name="T34" fmla="*/ 124293735 w 293"/>
                <a:gd name="T35" fmla="*/ 827877203 h 275"/>
                <a:gd name="T36" fmla="*/ 124293735 w 293"/>
                <a:gd name="T37" fmla="*/ 827877203 h 275"/>
                <a:gd name="T38" fmla="*/ 103578995 w 293"/>
                <a:gd name="T39" fmla="*/ 786482177 h 275"/>
                <a:gd name="T40" fmla="*/ 62146867 w 293"/>
                <a:gd name="T41" fmla="*/ 724392265 h 275"/>
                <a:gd name="T42" fmla="*/ 103578995 w 293"/>
                <a:gd name="T43" fmla="*/ 600209651 h 275"/>
                <a:gd name="T44" fmla="*/ 158820053 w 293"/>
                <a:gd name="T45" fmla="*/ 703694752 h 275"/>
                <a:gd name="T46" fmla="*/ 345260716 w 293"/>
                <a:gd name="T47" fmla="*/ 765784664 h 275"/>
                <a:gd name="T48" fmla="*/ 407407563 w 293"/>
                <a:gd name="T49" fmla="*/ 703694752 h 275"/>
                <a:gd name="T50" fmla="*/ 738856701 w 293"/>
                <a:gd name="T51" fmla="*/ 434634801 h 275"/>
                <a:gd name="T52" fmla="*/ 842433027 w 293"/>
                <a:gd name="T53" fmla="*/ 289757382 h 275"/>
                <a:gd name="T54" fmla="*/ 1070305675 w 293"/>
                <a:gd name="T55" fmla="*/ 289757382 h 275"/>
                <a:gd name="T56" fmla="*/ 1153167261 w 293"/>
                <a:gd name="T57" fmla="*/ 289757382 h 275"/>
                <a:gd name="T58" fmla="*/ 1194599368 w 293"/>
                <a:gd name="T59" fmla="*/ 227664844 h 275"/>
                <a:gd name="T60" fmla="*/ 1194599368 w 293"/>
                <a:gd name="T61" fmla="*/ 62089932 h 275"/>
                <a:gd name="T62" fmla="*/ 1215314108 w 293"/>
                <a:gd name="T63" fmla="*/ 0 h 275"/>
                <a:gd name="T64" fmla="*/ 1360325169 w 293"/>
                <a:gd name="T65" fmla="*/ 103484979 h 275"/>
                <a:gd name="T66" fmla="*/ 1484616563 w 293"/>
                <a:gd name="T67" fmla="*/ 165574891 h 275"/>
                <a:gd name="T68" fmla="*/ 1505333931 w 293"/>
                <a:gd name="T69" fmla="*/ 103484979 h 275"/>
                <a:gd name="T70" fmla="*/ 1546763410 w 293"/>
                <a:gd name="T71" fmla="*/ 62089932 h 275"/>
                <a:gd name="T72" fmla="*/ 1567480778 w 293"/>
                <a:gd name="T73" fmla="*/ 82787445 h 275"/>
                <a:gd name="T74" fmla="*/ 1588195517 w 293"/>
                <a:gd name="T75" fmla="*/ 227664844 h 275"/>
                <a:gd name="T76" fmla="*/ 1774636058 w 293"/>
                <a:gd name="T77" fmla="*/ 434634801 h 275"/>
                <a:gd name="T78" fmla="*/ 1774636058 w 293"/>
                <a:gd name="T79" fmla="*/ 620907164 h 275"/>
                <a:gd name="T80" fmla="*/ 1816068165 w 293"/>
                <a:gd name="T81" fmla="*/ 682997075 h 275"/>
                <a:gd name="T82" fmla="*/ 1940361858 w 293"/>
                <a:gd name="T83" fmla="*/ 765784664 h 275"/>
                <a:gd name="T84" fmla="*/ 2023223445 w 293"/>
                <a:gd name="T85" fmla="*/ 827877203 h 275"/>
                <a:gd name="T86" fmla="*/ 1795350797 w 293"/>
                <a:gd name="T87" fmla="*/ 1014149565 h 275"/>
                <a:gd name="T88" fmla="*/ 1733203951 w 293"/>
                <a:gd name="T89" fmla="*/ 1076239477 h 275"/>
                <a:gd name="T90" fmla="*/ 1629627624 w 293"/>
                <a:gd name="T91" fmla="*/ 1200419301 h 275"/>
                <a:gd name="T92" fmla="*/ 1588195517 w 293"/>
                <a:gd name="T93" fmla="*/ 1324601752 h 275"/>
                <a:gd name="T94" fmla="*/ 1484616563 w 293"/>
                <a:gd name="T95" fmla="*/ 1365996778 h 275"/>
                <a:gd name="T96" fmla="*/ 1070305675 w 293"/>
                <a:gd name="T97" fmla="*/ 1648854359 h 275"/>
                <a:gd name="T98" fmla="*/ 1049590935 w 293"/>
                <a:gd name="T99" fmla="*/ 1690246759 h 275"/>
                <a:gd name="T100" fmla="*/ 987444088 w 293"/>
                <a:gd name="T101" fmla="*/ 1876519121 h 275"/>
                <a:gd name="T102" fmla="*/ 821718287 w 293"/>
                <a:gd name="T103" fmla="*/ 1897216634 h 27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93"/>
                <a:gd name="T157" fmla="*/ 0 h 275"/>
                <a:gd name="T158" fmla="*/ 293 w 293"/>
                <a:gd name="T159" fmla="*/ 275 h 27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93" h="275">
                  <a:moveTo>
                    <a:pt x="119" y="275"/>
                  </a:moveTo>
                  <a:cubicBezTo>
                    <a:pt x="116" y="275"/>
                    <a:pt x="116" y="275"/>
                    <a:pt x="116" y="275"/>
                  </a:cubicBezTo>
                  <a:cubicBezTo>
                    <a:pt x="122" y="263"/>
                    <a:pt x="125" y="263"/>
                    <a:pt x="131" y="257"/>
                  </a:cubicBezTo>
                  <a:cubicBezTo>
                    <a:pt x="131" y="254"/>
                    <a:pt x="134" y="251"/>
                    <a:pt x="137" y="248"/>
                  </a:cubicBezTo>
                  <a:cubicBezTo>
                    <a:pt x="137" y="245"/>
                    <a:pt x="137" y="242"/>
                    <a:pt x="137" y="239"/>
                  </a:cubicBezTo>
                  <a:cubicBezTo>
                    <a:pt x="131" y="239"/>
                    <a:pt x="128" y="236"/>
                    <a:pt x="125" y="233"/>
                  </a:cubicBezTo>
                  <a:cubicBezTo>
                    <a:pt x="122" y="215"/>
                    <a:pt x="131" y="212"/>
                    <a:pt x="140" y="200"/>
                  </a:cubicBezTo>
                  <a:cubicBezTo>
                    <a:pt x="146" y="192"/>
                    <a:pt x="143" y="180"/>
                    <a:pt x="143" y="171"/>
                  </a:cubicBezTo>
                  <a:cubicBezTo>
                    <a:pt x="137" y="165"/>
                    <a:pt x="131" y="156"/>
                    <a:pt x="125" y="150"/>
                  </a:cubicBezTo>
                  <a:cubicBezTo>
                    <a:pt x="122" y="150"/>
                    <a:pt x="119" y="150"/>
                    <a:pt x="116" y="150"/>
                  </a:cubicBezTo>
                  <a:cubicBezTo>
                    <a:pt x="110" y="150"/>
                    <a:pt x="104" y="153"/>
                    <a:pt x="98" y="153"/>
                  </a:cubicBezTo>
                  <a:cubicBezTo>
                    <a:pt x="89" y="162"/>
                    <a:pt x="83" y="171"/>
                    <a:pt x="74" y="180"/>
                  </a:cubicBezTo>
                  <a:cubicBezTo>
                    <a:pt x="68" y="189"/>
                    <a:pt x="62" y="200"/>
                    <a:pt x="53" y="209"/>
                  </a:cubicBezTo>
                  <a:cubicBezTo>
                    <a:pt x="41" y="198"/>
                    <a:pt x="26" y="192"/>
                    <a:pt x="18" y="183"/>
                  </a:cubicBezTo>
                  <a:cubicBezTo>
                    <a:pt x="9" y="183"/>
                    <a:pt x="3" y="177"/>
                    <a:pt x="0" y="174"/>
                  </a:cubicBezTo>
                  <a:cubicBezTo>
                    <a:pt x="0" y="162"/>
                    <a:pt x="0" y="162"/>
                    <a:pt x="9" y="159"/>
                  </a:cubicBezTo>
                  <a:cubicBezTo>
                    <a:pt x="12" y="156"/>
                    <a:pt x="15" y="150"/>
                    <a:pt x="20" y="147"/>
                  </a:cubicBezTo>
                  <a:cubicBezTo>
                    <a:pt x="20" y="138"/>
                    <a:pt x="18" y="129"/>
                    <a:pt x="18" y="120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15" y="117"/>
                    <a:pt x="15" y="117"/>
                    <a:pt x="15" y="114"/>
                  </a:cubicBezTo>
                  <a:cubicBezTo>
                    <a:pt x="12" y="111"/>
                    <a:pt x="12" y="108"/>
                    <a:pt x="9" y="105"/>
                  </a:cubicBezTo>
                  <a:cubicBezTo>
                    <a:pt x="9" y="96"/>
                    <a:pt x="9" y="90"/>
                    <a:pt x="15" y="87"/>
                  </a:cubicBezTo>
                  <a:cubicBezTo>
                    <a:pt x="18" y="87"/>
                    <a:pt x="20" y="93"/>
                    <a:pt x="23" y="102"/>
                  </a:cubicBezTo>
                  <a:cubicBezTo>
                    <a:pt x="32" y="108"/>
                    <a:pt x="32" y="114"/>
                    <a:pt x="50" y="111"/>
                  </a:cubicBezTo>
                  <a:cubicBezTo>
                    <a:pt x="53" y="108"/>
                    <a:pt x="56" y="105"/>
                    <a:pt x="59" y="102"/>
                  </a:cubicBezTo>
                  <a:cubicBezTo>
                    <a:pt x="74" y="93"/>
                    <a:pt x="92" y="75"/>
                    <a:pt x="107" y="63"/>
                  </a:cubicBezTo>
                  <a:cubicBezTo>
                    <a:pt x="113" y="57"/>
                    <a:pt x="119" y="48"/>
                    <a:pt x="122" y="42"/>
                  </a:cubicBezTo>
                  <a:cubicBezTo>
                    <a:pt x="134" y="39"/>
                    <a:pt x="140" y="33"/>
                    <a:pt x="155" y="42"/>
                  </a:cubicBezTo>
                  <a:cubicBezTo>
                    <a:pt x="158" y="42"/>
                    <a:pt x="161" y="42"/>
                    <a:pt x="167" y="42"/>
                  </a:cubicBezTo>
                  <a:cubicBezTo>
                    <a:pt x="167" y="39"/>
                    <a:pt x="170" y="36"/>
                    <a:pt x="173" y="33"/>
                  </a:cubicBezTo>
                  <a:cubicBezTo>
                    <a:pt x="173" y="24"/>
                    <a:pt x="173" y="18"/>
                    <a:pt x="173" y="9"/>
                  </a:cubicBezTo>
                  <a:cubicBezTo>
                    <a:pt x="173" y="6"/>
                    <a:pt x="176" y="3"/>
                    <a:pt x="176" y="0"/>
                  </a:cubicBezTo>
                  <a:cubicBezTo>
                    <a:pt x="182" y="0"/>
                    <a:pt x="191" y="6"/>
                    <a:pt x="197" y="15"/>
                  </a:cubicBezTo>
                  <a:cubicBezTo>
                    <a:pt x="203" y="21"/>
                    <a:pt x="203" y="24"/>
                    <a:pt x="215" y="24"/>
                  </a:cubicBezTo>
                  <a:cubicBezTo>
                    <a:pt x="218" y="21"/>
                    <a:pt x="218" y="15"/>
                    <a:pt x="218" y="15"/>
                  </a:cubicBezTo>
                  <a:cubicBezTo>
                    <a:pt x="221" y="12"/>
                    <a:pt x="221" y="9"/>
                    <a:pt x="224" y="9"/>
                  </a:cubicBezTo>
                  <a:cubicBezTo>
                    <a:pt x="227" y="12"/>
                    <a:pt x="227" y="12"/>
                    <a:pt x="227" y="12"/>
                  </a:cubicBezTo>
                  <a:cubicBezTo>
                    <a:pt x="227" y="18"/>
                    <a:pt x="230" y="24"/>
                    <a:pt x="230" y="33"/>
                  </a:cubicBezTo>
                  <a:cubicBezTo>
                    <a:pt x="236" y="39"/>
                    <a:pt x="245" y="51"/>
                    <a:pt x="257" y="63"/>
                  </a:cubicBezTo>
                  <a:cubicBezTo>
                    <a:pt x="257" y="72"/>
                    <a:pt x="257" y="81"/>
                    <a:pt x="257" y="90"/>
                  </a:cubicBezTo>
                  <a:cubicBezTo>
                    <a:pt x="260" y="93"/>
                    <a:pt x="263" y="96"/>
                    <a:pt x="263" y="99"/>
                  </a:cubicBezTo>
                  <a:cubicBezTo>
                    <a:pt x="269" y="102"/>
                    <a:pt x="275" y="105"/>
                    <a:pt x="281" y="111"/>
                  </a:cubicBezTo>
                  <a:cubicBezTo>
                    <a:pt x="284" y="114"/>
                    <a:pt x="290" y="117"/>
                    <a:pt x="293" y="120"/>
                  </a:cubicBezTo>
                  <a:cubicBezTo>
                    <a:pt x="293" y="123"/>
                    <a:pt x="263" y="144"/>
                    <a:pt x="260" y="147"/>
                  </a:cubicBezTo>
                  <a:cubicBezTo>
                    <a:pt x="257" y="150"/>
                    <a:pt x="254" y="153"/>
                    <a:pt x="251" y="156"/>
                  </a:cubicBezTo>
                  <a:cubicBezTo>
                    <a:pt x="245" y="162"/>
                    <a:pt x="239" y="168"/>
                    <a:pt x="236" y="174"/>
                  </a:cubicBezTo>
                  <a:cubicBezTo>
                    <a:pt x="233" y="180"/>
                    <a:pt x="233" y="186"/>
                    <a:pt x="230" y="192"/>
                  </a:cubicBezTo>
                  <a:cubicBezTo>
                    <a:pt x="224" y="195"/>
                    <a:pt x="221" y="198"/>
                    <a:pt x="215" y="198"/>
                  </a:cubicBezTo>
                  <a:cubicBezTo>
                    <a:pt x="188" y="203"/>
                    <a:pt x="170" y="215"/>
                    <a:pt x="155" y="239"/>
                  </a:cubicBezTo>
                  <a:cubicBezTo>
                    <a:pt x="152" y="239"/>
                    <a:pt x="152" y="242"/>
                    <a:pt x="152" y="245"/>
                  </a:cubicBezTo>
                  <a:cubicBezTo>
                    <a:pt x="149" y="254"/>
                    <a:pt x="146" y="263"/>
                    <a:pt x="143" y="272"/>
                  </a:cubicBezTo>
                  <a:cubicBezTo>
                    <a:pt x="134" y="275"/>
                    <a:pt x="125" y="275"/>
                    <a:pt x="119" y="275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7" name="Freeform 13"/>
            <p:cNvSpPr>
              <a:spLocks/>
            </p:cNvSpPr>
            <p:nvPr/>
          </p:nvSpPr>
          <p:spPr bwMode="auto">
            <a:xfrm>
              <a:off x="7876179" y="1476698"/>
              <a:ext cx="1326647" cy="1084021"/>
            </a:xfrm>
            <a:custGeom>
              <a:avLst/>
              <a:gdLst>
                <a:gd name="T0" fmla="*/ 2147483647 w 556"/>
                <a:gd name="T1" fmla="*/ 2147483647 h 501"/>
                <a:gd name="T2" fmla="*/ 2147483647 w 556"/>
                <a:gd name="T3" fmla="*/ 2147483647 h 501"/>
                <a:gd name="T4" fmla="*/ 2147483647 w 556"/>
                <a:gd name="T5" fmla="*/ 2147483647 h 501"/>
                <a:gd name="T6" fmla="*/ 1959620418 w 556"/>
                <a:gd name="T7" fmla="*/ 2147483647 h 501"/>
                <a:gd name="T8" fmla="*/ 1835417556 w 556"/>
                <a:gd name="T9" fmla="*/ 2147483647 h 501"/>
                <a:gd name="T10" fmla="*/ 1669816367 w 556"/>
                <a:gd name="T11" fmla="*/ 2147483647 h 501"/>
                <a:gd name="T12" fmla="*/ 1380014943 w 556"/>
                <a:gd name="T13" fmla="*/ 2147483647 h 501"/>
                <a:gd name="T14" fmla="*/ 1048809610 w 556"/>
                <a:gd name="T15" fmla="*/ 2147483647 h 501"/>
                <a:gd name="T16" fmla="*/ 986709492 w 556"/>
                <a:gd name="T17" fmla="*/ 2147483647 h 501"/>
                <a:gd name="T18" fmla="*/ 1090210564 w 556"/>
                <a:gd name="T19" fmla="*/ 2147483647 h 501"/>
                <a:gd name="T20" fmla="*/ 945308538 w 556"/>
                <a:gd name="T21" fmla="*/ 2147483647 h 501"/>
                <a:gd name="T22" fmla="*/ 759008186 w 556"/>
                <a:gd name="T23" fmla="*/ 2147483647 h 501"/>
                <a:gd name="T24" fmla="*/ 883208421 w 556"/>
                <a:gd name="T25" fmla="*/ 2132158701 h 501"/>
                <a:gd name="T26" fmla="*/ 1028110446 w 556"/>
                <a:gd name="T27" fmla="*/ 1800948256 h 501"/>
                <a:gd name="T28" fmla="*/ 1131611518 w 556"/>
                <a:gd name="T29" fmla="*/ 1987252818 h 501"/>
                <a:gd name="T30" fmla="*/ 1255811753 w 556"/>
                <a:gd name="T31" fmla="*/ 1718145645 h 501"/>
                <a:gd name="T32" fmla="*/ 1152310681 w 556"/>
                <a:gd name="T33" fmla="*/ 1304134888 h 501"/>
                <a:gd name="T34" fmla="*/ 1193711635 w 556"/>
                <a:gd name="T35" fmla="*/ 1117830326 h 501"/>
                <a:gd name="T36" fmla="*/ 1069511400 w 556"/>
                <a:gd name="T37" fmla="*/ 558913849 h 501"/>
                <a:gd name="T38" fmla="*/ 738306395 w 556"/>
                <a:gd name="T39" fmla="*/ 745221202 h 501"/>
                <a:gd name="T40" fmla="*/ 427803017 w 556"/>
                <a:gd name="T41" fmla="*/ 641716461 h 501"/>
                <a:gd name="T42" fmla="*/ 144902066 w 556"/>
                <a:gd name="T43" fmla="*/ 558913849 h 501"/>
                <a:gd name="T44" fmla="*/ 0 w 556"/>
                <a:gd name="T45" fmla="*/ 414010593 h 501"/>
                <a:gd name="T46" fmla="*/ 82801928 w 556"/>
                <a:gd name="T47" fmla="*/ 227705949 h 501"/>
                <a:gd name="T48" fmla="*/ 248403179 w 556"/>
                <a:gd name="T49" fmla="*/ 62100666 h 501"/>
                <a:gd name="T50" fmla="*/ 696908068 w 556"/>
                <a:gd name="T51" fmla="*/ 82802632 h 501"/>
                <a:gd name="T52" fmla="*/ 1276513543 w 556"/>
                <a:gd name="T53" fmla="*/ 496813204 h 501"/>
                <a:gd name="T54" fmla="*/ 1483516014 w 556"/>
                <a:gd name="T55" fmla="*/ 786622508 h 501"/>
                <a:gd name="T56" fmla="*/ 1690518157 w 556"/>
                <a:gd name="T57" fmla="*/ 1076429020 h 501"/>
                <a:gd name="T58" fmla="*/ 1731916484 w 556"/>
                <a:gd name="T59" fmla="*/ 1242034243 h 501"/>
                <a:gd name="T60" fmla="*/ 2104522443 w 556"/>
                <a:gd name="T61" fmla="*/ 1283435548 h 501"/>
                <a:gd name="T62" fmla="*/ 2147483647 w 556"/>
                <a:gd name="T63" fmla="*/ 1262733582 h 501"/>
                <a:gd name="T64" fmla="*/ 2147483647 w 556"/>
                <a:gd name="T65" fmla="*/ 1428339133 h 501"/>
                <a:gd name="T66" fmla="*/ 2147483647 w 556"/>
                <a:gd name="T67" fmla="*/ 1759546951 h 501"/>
                <a:gd name="T68" fmla="*/ 2147483647 w 556"/>
                <a:gd name="T69" fmla="*/ 1656045000 h 501"/>
                <a:gd name="T70" fmla="*/ 2147483647 w 556"/>
                <a:gd name="T71" fmla="*/ 1324836854 h 501"/>
                <a:gd name="T72" fmla="*/ 2147483647 w 556"/>
                <a:gd name="T73" fmla="*/ 1283435548 h 501"/>
                <a:gd name="T74" fmla="*/ 2147483647 w 556"/>
                <a:gd name="T75" fmla="*/ 1593944355 h 501"/>
                <a:gd name="T76" fmla="*/ 2147483647 w 556"/>
                <a:gd name="T77" fmla="*/ 1821650222 h 501"/>
                <a:gd name="T78" fmla="*/ 2147483647 w 556"/>
                <a:gd name="T79" fmla="*/ 2147483647 h 501"/>
                <a:gd name="T80" fmla="*/ 2147483647 w 556"/>
                <a:gd name="T81" fmla="*/ 2147483647 h 501"/>
                <a:gd name="T82" fmla="*/ 2147483647 w 556"/>
                <a:gd name="T83" fmla="*/ 2147483647 h 501"/>
                <a:gd name="T84" fmla="*/ 2147483647 w 556"/>
                <a:gd name="T85" fmla="*/ 2147483647 h 501"/>
                <a:gd name="T86" fmla="*/ 2147483647 w 556"/>
                <a:gd name="T87" fmla="*/ 2147483647 h 501"/>
                <a:gd name="T88" fmla="*/ 2147483647 w 556"/>
                <a:gd name="T89" fmla="*/ 2147483647 h 501"/>
                <a:gd name="T90" fmla="*/ 2147483647 w 556"/>
                <a:gd name="T91" fmla="*/ 2147483647 h 501"/>
                <a:gd name="T92" fmla="*/ 2147483647 w 556"/>
                <a:gd name="T93" fmla="*/ 2147483647 h 501"/>
                <a:gd name="T94" fmla="*/ 2147483647 w 556"/>
                <a:gd name="T95" fmla="*/ 2147483647 h 501"/>
                <a:gd name="T96" fmla="*/ 2147483647 w 556"/>
                <a:gd name="T97" fmla="*/ 2147483647 h 50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56"/>
                <a:gd name="T148" fmla="*/ 0 h 501"/>
                <a:gd name="T149" fmla="*/ 556 w 556"/>
                <a:gd name="T150" fmla="*/ 501 h 50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56" h="501">
                  <a:moveTo>
                    <a:pt x="403" y="501"/>
                  </a:moveTo>
                  <a:cubicBezTo>
                    <a:pt x="397" y="495"/>
                    <a:pt x="391" y="489"/>
                    <a:pt x="382" y="480"/>
                  </a:cubicBezTo>
                  <a:cubicBezTo>
                    <a:pt x="376" y="465"/>
                    <a:pt x="370" y="456"/>
                    <a:pt x="355" y="459"/>
                  </a:cubicBezTo>
                  <a:cubicBezTo>
                    <a:pt x="352" y="465"/>
                    <a:pt x="349" y="471"/>
                    <a:pt x="346" y="480"/>
                  </a:cubicBezTo>
                  <a:cubicBezTo>
                    <a:pt x="337" y="480"/>
                    <a:pt x="329" y="459"/>
                    <a:pt x="329" y="456"/>
                  </a:cubicBezTo>
                  <a:cubicBezTo>
                    <a:pt x="326" y="456"/>
                    <a:pt x="323" y="453"/>
                    <a:pt x="323" y="450"/>
                  </a:cubicBezTo>
                  <a:cubicBezTo>
                    <a:pt x="320" y="450"/>
                    <a:pt x="317" y="450"/>
                    <a:pt x="311" y="447"/>
                  </a:cubicBezTo>
                  <a:cubicBezTo>
                    <a:pt x="302" y="432"/>
                    <a:pt x="296" y="432"/>
                    <a:pt x="284" y="432"/>
                  </a:cubicBezTo>
                  <a:cubicBezTo>
                    <a:pt x="284" y="432"/>
                    <a:pt x="284" y="435"/>
                    <a:pt x="281" y="435"/>
                  </a:cubicBezTo>
                  <a:cubicBezTo>
                    <a:pt x="260" y="447"/>
                    <a:pt x="266" y="426"/>
                    <a:pt x="266" y="414"/>
                  </a:cubicBezTo>
                  <a:cubicBezTo>
                    <a:pt x="260" y="408"/>
                    <a:pt x="257" y="408"/>
                    <a:pt x="251" y="408"/>
                  </a:cubicBezTo>
                  <a:cubicBezTo>
                    <a:pt x="248" y="411"/>
                    <a:pt x="245" y="417"/>
                    <a:pt x="242" y="420"/>
                  </a:cubicBezTo>
                  <a:cubicBezTo>
                    <a:pt x="239" y="420"/>
                    <a:pt x="239" y="420"/>
                    <a:pt x="236" y="423"/>
                  </a:cubicBezTo>
                  <a:cubicBezTo>
                    <a:pt x="230" y="432"/>
                    <a:pt x="209" y="435"/>
                    <a:pt x="200" y="438"/>
                  </a:cubicBezTo>
                  <a:cubicBezTo>
                    <a:pt x="182" y="429"/>
                    <a:pt x="176" y="423"/>
                    <a:pt x="173" y="408"/>
                  </a:cubicBezTo>
                  <a:cubicBezTo>
                    <a:pt x="161" y="393"/>
                    <a:pt x="164" y="399"/>
                    <a:pt x="152" y="396"/>
                  </a:cubicBezTo>
                  <a:cubicBezTo>
                    <a:pt x="149" y="396"/>
                    <a:pt x="149" y="396"/>
                    <a:pt x="149" y="399"/>
                  </a:cubicBezTo>
                  <a:cubicBezTo>
                    <a:pt x="143" y="396"/>
                    <a:pt x="143" y="390"/>
                    <a:pt x="143" y="387"/>
                  </a:cubicBezTo>
                  <a:cubicBezTo>
                    <a:pt x="146" y="384"/>
                    <a:pt x="152" y="387"/>
                    <a:pt x="161" y="381"/>
                  </a:cubicBezTo>
                  <a:cubicBezTo>
                    <a:pt x="161" y="372"/>
                    <a:pt x="158" y="366"/>
                    <a:pt x="158" y="363"/>
                  </a:cubicBezTo>
                  <a:cubicBezTo>
                    <a:pt x="155" y="360"/>
                    <a:pt x="155" y="357"/>
                    <a:pt x="152" y="357"/>
                  </a:cubicBezTo>
                  <a:cubicBezTo>
                    <a:pt x="140" y="357"/>
                    <a:pt x="143" y="357"/>
                    <a:pt x="137" y="369"/>
                  </a:cubicBezTo>
                  <a:cubicBezTo>
                    <a:pt x="128" y="369"/>
                    <a:pt x="122" y="360"/>
                    <a:pt x="116" y="357"/>
                  </a:cubicBezTo>
                  <a:cubicBezTo>
                    <a:pt x="113" y="351"/>
                    <a:pt x="113" y="351"/>
                    <a:pt x="110" y="345"/>
                  </a:cubicBezTo>
                  <a:cubicBezTo>
                    <a:pt x="107" y="342"/>
                    <a:pt x="107" y="336"/>
                    <a:pt x="107" y="333"/>
                  </a:cubicBezTo>
                  <a:cubicBezTo>
                    <a:pt x="119" y="327"/>
                    <a:pt x="122" y="318"/>
                    <a:pt x="128" y="309"/>
                  </a:cubicBezTo>
                  <a:cubicBezTo>
                    <a:pt x="131" y="291"/>
                    <a:pt x="143" y="285"/>
                    <a:pt x="149" y="270"/>
                  </a:cubicBezTo>
                  <a:cubicBezTo>
                    <a:pt x="149" y="267"/>
                    <a:pt x="149" y="264"/>
                    <a:pt x="149" y="261"/>
                  </a:cubicBezTo>
                  <a:cubicBezTo>
                    <a:pt x="155" y="261"/>
                    <a:pt x="155" y="264"/>
                    <a:pt x="155" y="267"/>
                  </a:cubicBezTo>
                  <a:cubicBezTo>
                    <a:pt x="155" y="273"/>
                    <a:pt x="152" y="282"/>
                    <a:pt x="164" y="288"/>
                  </a:cubicBezTo>
                  <a:cubicBezTo>
                    <a:pt x="167" y="288"/>
                    <a:pt x="176" y="291"/>
                    <a:pt x="182" y="285"/>
                  </a:cubicBezTo>
                  <a:cubicBezTo>
                    <a:pt x="182" y="273"/>
                    <a:pt x="182" y="255"/>
                    <a:pt x="182" y="249"/>
                  </a:cubicBezTo>
                  <a:cubicBezTo>
                    <a:pt x="167" y="234"/>
                    <a:pt x="173" y="228"/>
                    <a:pt x="179" y="216"/>
                  </a:cubicBezTo>
                  <a:cubicBezTo>
                    <a:pt x="179" y="204"/>
                    <a:pt x="173" y="189"/>
                    <a:pt x="167" y="189"/>
                  </a:cubicBezTo>
                  <a:cubicBezTo>
                    <a:pt x="167" y="186"/>
                    <a:pt x="167" y="180"/>
                    <a:pt x="167" y="177"/>
                  </a:cubicBezTo>
                  <a:cubicBezTo>
                    <a:pt x="170" y="171"/>
                    <a:pt x="170" y="168"/>
                    <a:pt x="173" y="162"/>
                  </a:cubicBezTo>
                  <a:cubicBezTo>
                    <a:pt x="173" y="153"/>
                    <a:pt x="176" y="147"/>
                    <a:pt x="179" y="138"/>
                  </a:cubicBezTo>
                  <a:cubicBezTo>
                    <a:pt x="179" y="117"/>
                    <a:pt x="170" y="87"/>
                    <a:pt x="155" y="81"/>
                  </a:cubicBezTo>
                  <a:cubicBezTo>
                    <a:pt x="143" y="81"/>
                    <a:pt x="137" y="81"/>
                    <a:pt x="128" y="87"/>
                  </a:cubicBezTo>
                  <a:cubicBezTo>
                    <a:pt x="122" y="102"/>
                    <a:pt x="122" y="105"/>
                    <a:pt x="107" y="108"/>
                  </a:cubicBezTo>
                  <a:cubicBezTo>
                    <a:pt x="92" y="108"/>
                    <a:pt x="83" y="111"/>
                    <a:pt x="74" y="114"/>
                  </a:cubicBezTo>
                  <a:cubicBezTo>
                    <a:pt x="62" y="108"/>
                    <a:pt x="65" y="99"/>
                    <a:pt x="62" y="93"/>
                  </a:cubicBezTo>
                  <a:cubicBezTo>
                    <a:pt x="59" y="78"/>
                    <a:pt x="56" y="72"/>
                    <a:pt x="50" y="66"/>
                  </a:cubicBezTo>
                  <a:cubicBezTo>
                    <a:pt x="24" y="54"/>
                    <a:pt x="21" y="57"/>
                    <a:pt x="21" y="81"/>
                  </a:cubicBezTo>
                  <a:cubicBezTo>
                    <a:pt x="12" y="75"/>
                    <a:pt x="6" y="69"/>
                    <a:pt x="0" y="63"/>
                  </a:cubicBezTo>
                  <a:cubicBezTo>
                    <a:pt x="0" y="63"/>
                    <a:pt x="0" y="63"/>
                    <a:pt x="0" y="60"/>
                  </a:cubicBezTo>
                  <a:cubicBezTo>
                    <a:pt x="3" y="57"/>
                    <a:pt x="6" y="54"/>
                    <a:pt x="9" y="51"/>
                  </a:cubicBezTo>
                  <a:cubicBezTo>
                    <a:pt x="9" y="45"/>
                    <a:pt x="9" y="36"/>
                    <a:pt x="12" y="33"/>
                  </a:cubicBezTo>
                  <a:cubicBezTo>
                    <a:pt x="9" y="30"/>
                    <a:pt x="6" y="27"/>
                    <a:pt x="3" y="24"/>
                  </a:cubicBezTo>
                  <a:cubicBezTo>
                    <a:pt x="15" y="18"/>
                    <a:pt x="24" y="12"/>
                    <a:pt x="36" y="9"/>
                  </a:cubicBezTo>
                  <a:cubicBezTo>
                    <a:pt x="47" y="3"/>
                    <a:pt x="53" y="0"/>
                    <a:pt x="71" y="3"/>
                  </a:cubicBezTo>
                  <a:cubicBezTo>
                    <a:pt x="77" y="9"/>
                    <a:pt x="86" y="12"/>
                    <a:pt x="101" y="12"/>
                  </a:cubicBezTo>
                  <a:cubicBezTo>
                    <a:pt x="116" y="9"/>
                    <a:pt x="122" y="9"/>
                    <a:pt x="140" y="15"/>
                  </a:cubicBezTo>
                  <a:cubicBezTo>
                    <a:pt x="152" y="30"/>
                    <a:pt x="167" y="51"/>
                    <a:pt x="185" y="72"/>
                  </a:cubicBezTo>
                  <a:cubicBezTo>
                    <a:pt x="188" y="78"/>
                    <a:pt x="191" y="87"/>
                    <a:pt x="194" y="96"/>
                  </a:cubicBezTo>
                  <a:cubicBezTo>
                    <a:pt x="203" y="102"/>
                    <a:pt x="209" y="108"/>
                    <a:pt x="215" y="114"/>
                  </a:cubicBezTo>
                  <a:cubicBezTo>
                    <a:pt x="224" y="123"/>
                    <a:pt x="227" y="126"/>
                    <a:pt x="227" y="141"/>
                  </a:cubicBezTo>
                  <a:cubicBezTo>
                    <a:pt x="230" y="144"/>
                    <a:pt x="236" y="150"/>
                    <a:pt x="245" y="156"/>
                  </a:cubicBezTo>
                  <a:cubicBezTo>
                    <a:pt x="245" y="156"/>
                    <a:pt x="245" y="159"/>
                    <a:pt x="248" y="159"/>
                  </a:cubicBezTo>
                  <a:cubicBezTo>
                    <a:pt x="248" y="165"/>
                    <a:pt x="248" y="168"/>
                    <a:pt x="251" y="180"/>
                  </a:cubicBezTo>
                  <a:cubicBezTo>
                    <a:pt x="254" y="183"/>
                    <a:pt x="272" y="183"/>
                    <a:pt x="284" y="180"/>
                  </a:cubicBezTo>
                  <a:cubicBezTo>
                    <a:pt x="290" y="180"/>
                    <a:pt x="293" y="177"/>
                    <a:pt x="305" y="186"/>
                  </a:cubicBezTo>
                  <a:cubicBezTo>
                    <a:pt x="308" y="186"/>
                    <a:pt x="314" y="186"/>
                    <a:pt x="317" y="186"/>
                  </a:cubicBezTo>
                  <a:cubicBezTo>
                    <a:pt x="320" y="183"/>
                    <a:pt x="320" y="183"/>
                    <a:pt x="329" y="183"/>
                  </a:cubicBezTo>
                  <a:cubicBezTo>
                    <a:pt x="337" y="189"/>
                    <a:pt x="343" y="195"/>
                    <a:pt x="349" y="201"/>
                  </a:cubicBezTo>
                  <a:cubicBezTo>
                    <a:pt x="355" y="201"/>
                    <a:pt x="367" y="198"/>
                    <a:pt x="373" y="207"/>
                  </a:cubicBezTo>
                  <a:cubicBezTo>
                    <a:pt x="376" y="213"/>
                    <a:pt x="379" y="219"/>
                    <a:pt x="382" y="225"/>
                  </a:cubicBezTo>
                  <a:cubicBezTo>
                    <a:pt x="385" y="237"/>
                    <a:pt x="397" y="270"/>
                    <a:pt x="421" y="255"/>
                  </a:cubicBezTo>
                  <a:cubicBezTo>
                    <a:pt x="430" y="255"/>
                    <a:pt x="442" y="249"/>
                    <a:pt x="454" y="246"/>
                  </a:cubicBezTo>
                  <a:cubicBezTo>
                    <a:pt x="457" y="243"/>
                    <a:pt x="457" y="243"/>
                    <a:pt x="460" y="240"/>
                  </a:cubicBezTo>
                  <a:cubicBezTo>
                    <a:pt x="472" y="222"/>
                    <a:pt x="478" y="216"/>
                    <a:pt x="493" y="204"/>
                  </a:cubicBezTo>
                  <a:cubicBezTo>
                    <a:pt x="496" y="201"/>
                    <a:pt x="502" y="195"/>
                    <a:pt x="505" y="192"/>
                  </a:cubicBezTo>
                  <a:cubicBezTo>
                    <a:pt x="514" y="183"/>
                    <a:pt x="520" y="177"/>
                    <a:pt x="529" y="171"/>
                  </a:cubicBezTo>
                  <a:cubicBezTo>
                    <a:pt x="541" y="171"/>
                    <a:pt x="544" y="171"/>
                    <a:pt x="538" y="186"/>
                  </a:cubicBezTo>
                  <a:cubicBezTo>
                    <a:pt x="538" y="195"/>
                    <a:pt x="538" y="201"/>
                    <a:pt x="538" y="210"/>
                  </a:cubicBezTo>
                  <a:cubicBezTo>
                    <a:pt x="544" y="213"/>
                    <a:pt x="553" y="219"/>
                    <a:pt x="556" y="231"/>
                  </a:cubicBezTo>
                  <a:cubicBezTo>
                    <a:pt x="553" y="237"/>
                    <a:pt x="553" y="243"/>
                    <a:pt x="553" y="252"/>
                  </a:cubicBezTo>
                  <a:cubicBezTo>
                    <a:pt x="550" y="255"/>
                    <a:pt x="550" y="261"/>
                    <a:pt x="547" y="264"/>
                  </a:cubicBezTo>
                  <a:cubicBezTo>
                    <a:pt x="541" y="270"/>
                    <a:pt x="544" y="282"/>
                    <a:pt x="547" y="294"/>
                  </a:cubicBezTo>
                  <a:cubicBezTo>
                    <a:pt x="544" y="306"/>
                    <a:pt x="544" y="315"/>
                    <a:pt x="544" y="327"/>
                  </a:cubicBezTo>
                  <a:cubicBezTo>
                    <a:pt x="544" y="333"/>
                    <a:pt x="541" y="342"/>
                    <a:pt x="541" y="348"/>
                  </a:cubicBezTo>
                  <a:cubicBezTo>
                    <a:pt x="541" y="354"/>
                    <a:pt x="541" y="363"/>
                    <a:pt x="541" y="369"/>
                  </a:cubicBezTo>
                  <a:cubicBezTo>
                    <a:pt x="538" y="372"/>
                    <a:pt x="535" y="375"/>
                    <a:pt x="532" y="378"/>
                  </a:cubicBezTo>
                  <a:cubicBezTo>
                    <a:pt x="526" y="378"/>
                    <a:pt x="523" y="378"/>
                    <a:pt x="520" y="378"/>
                  </a:cubicBezTo>
                  <a:cubicBezTo>
                    <a:pt x="505" y="375"/>
                    <a:pt x="502" y="375"/>
                    <a:pt x="493" y="375"/>
                  </a:cubicBezTo>
                  <a:cubicBezTo>
                    <a:pt x="487" y="378"/>
                    <a:pt x="487" y="384"/>
                    <a:pt x="484" y="387"/>
                  </a:cubicBezTo>
                  <a:cubicBezTo>
                    <a:pt x="469" y="393"/>
                    <a:pt x="466" y="396"/>
                    <a:pt x="469" y="411"/>
                  </a:cubicBezTo>
                  <a:cubicBezTo>
                    <a:pt x="472" y="417"/>
                    <a:pt x="475" y="420"/>
                    <a:pt x="478" y="426"/>
                  </a:cubicBezTo>
                  <a:cubicBezTo>
                    <a:pt x="478" y="438"/>
                    <a:pt x="487" y="453"/>
                    <a:pt x="496" y="471"/>
                  </a:cubicBezTo>
                  <a:cubicBezTo>
                    <a:pt x="496" y="477"/>
                    <a:pt x="499" y="483"/>
                    <a:pt x="499" y="492"/>
                  </a:cubicBezTo>
                  <a:cubicBezTo>
                    <a:pt x="481" y="492"/>
                    <a:pt x="472" y="477"/>
                    <a:pt x="466" y="474"/>
                  </a:cubicBezTo>
                  <a:cubicBezTo>
                    <a:pt x="466" y="462"/>
                    <a:pt x="454" y="459"/>
                    <a:pt x="451" y="462"/>
                  </a:cubicBezTo>
                  <a:cubicBezTo>
                    <a:pt x="451" y="465"/>
                    <a:pt x="451" y="465"/>
                    <a:pt x="451" y="468"/>
                  </a:cubicBezTo>
                  <a:cubicBezTo>
                    <a:pt x="439" y="468"/>
                    <a:pt x="430" y="474"/>
                    <a:pt x="421" y="480"/>
                  </a:cubicBezTo>
                  <a:cubicBezTo>
                    <a:pt x="421" y="483"/>
                    <a:pt x="421" y="486"/>
                    <a:pt x="421" y="489"/>
                  </a:cubicBezTo>
                  <a:cubicBezTo>
                    <a:pt x="421" y="489"/>
                    <a:pt x="421" y="489"/>
                    <a:pt x="424" y="489"/>
                  </a:cubicBezTo>
                  <a:cubicBezTo>
                    <a:pt x="418" y="492"/>
                    <a:pt x="415" y="495"/>
                    <a:pt x="412" y="498"/>
                  </a:cubicBezTo>
                  <a:cubicBezTo>
                    <a:pt x="409" y="498"/>
                    <a:pt x="406" y="501"/>
                    <a:pt x="403" y="50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8" name="Freeform 14"/>
            <p:cNvSpPr>
              <a:spLocks/>
            </p:cNvSpPr>
            <p:nvPr/>
          </p:nvSpPr>
          <p:spPr bwMode="auto">
            <a:xfrm>
              <a:off x="8067964" y="2333193"/>
              <a:ext cx="1013731" cy="591047"/>
            </a:xfrm>
            <a:custGeom>
              <a:avLst/>
              <a:gdLst>
                <a:gd name="T0" fmla="*/ 1448035001 w 425"/>
                <a:gd name="T1" fmla="*/ 1740923368 h 273"/>
                <a:gd name="T2" fmla="*/ 1406663792 w 425"/>
                <a:gd name="T3" fmla="*/ 1512944956 h 273"/>
                <a:gd name="T4" fmla="*/ 1241173374 w 425"/>
                <a:gd name="T5" fmla="*/ 1305691048 h 273"/>
                <a:gd name="T6" fmla="*/ 1220486456 w 425"/>
                <a:gd name="T7" fmla="*/ 1160614593 h 273"/>
                <a:gd name="T8" fmla="*/ 1075683284 w 425"/>
                <a:gd name="T9" fmla="*/ 1243516551 h 273"/>
                <a:gd name="T10" fmla="*/ 889508903 w 425"/>
                <a:gd name="T11" fmla="*/ 1077715264 h 273"/>
                <a:gd name="T12" fmla="*/ 579215478 w 425"/>
                <a:gd name="T13" fmla="*/ 683932772 h 273"/>
                <a:gd name="T14" fmla="*/ 537841642 w 425"/>
                <a:gd name="T15" fmla="*/ 642483108 h 273"/>
                <a:gd name="T16" fmla="*/ 372351553 w 425"/>
                <a:gd name="T17" fmla="*/ 829012020 h 273"/>
                <a:gd name="T18" fmla="*/ 248235216 w 425"/>
                <a:gd name="T19" fmla="*/ 559581150 h 273"/>
                <a:gd name="T20" fmla="*/ 82745065 w 425"/>
                <a:gd name="T21" fmla="*/ 269428159 h 273"/>
                <a:gd name="T22" fmla="*/ 82745065 w 425"/>
                <a:gd name="T23" fmla="*/ 145076496 h 273"/>
                <a:gd name="T24" fmla="*/ 434409680 w 425"/>
                <a:gd name="T25" fmla="*/ 124351663 h 273"/>
                <a:gd name="T26" fmla="*/ 848135068 w 425"/>
                <a:gd name="T27" fmla="*/ 331605284 h 273"/>
                <a:gd name="T28" fmla="*/ 1220486456 w 425"/>
                <a:gd name="T29" fmla="*/ 124351663 h 273"/>
                <a:gd name="T30" fmla="*/ 1344605336 w 425"/>
                <a:gd name="T31" fmla="*/ 331605284 h 273"/>
                <a:gd name="T32" fmla="*/ 1572153881 w 425"/>
                <a:gd name="T33" fmla="*/ 393779863 h 273"/>
                <a:gd name="T34" fmla="*/ 1813493376 w 425"/>
                <a:gd name="T35" fmla="*/ 621758275 h 273"/>
                <a:gd name="T36" fmla="*/ 1916922713 w 425"/>
                <a:gd name="T37" fmla="*/ 455956989 h 273"/>
                <a:gd name="T38" fmla="*/ 2123786638 w 425"/>
                <a:gd name="T39" fmla="*/ 663207940 h 273"/>
                <a:gd name="T40" fmla="*/ 2147483647 w 425"/>
                <a:gd name="T41" fmla="*/ 746110062 h 273"/>
                <a:gd name="T42" fmla="*/ 2147483647 w 425"/>
                <a:gd name="T43" fmla="*/ 683932772 h 273"/>
                <a:gd name="T44" fmla="*/ 2147483647 w 425"/>
                <a:gd name="T45" fmla="*/ 621758275 h 273"/>
                <a:gd name="T46" fmla="*/ 2147483647 w 425"/>
                <a:gd name="T47" fmla="*/ 538856318 h 273"/>
                <a:gd name="T48" fmla="*/ 2147483647 w 425"/>
                <a:gd name="T49" fmla="*/ 497406653 h 273"/>
                <a:gd name="T50" fmla="*/ 2147483647 w 425"/>
                <a:gd name="T51" fmla="*/ 683932772 h 273"/>
                <a:gd name="T52" fmla="*/ 2147483647 w 425"/>
                <a:gd name="T53" fmla="*/ 891186517 h 273"/>
                <a:gd name="T54" fmla="*/ 2147483647 w 425"/>
                <a:gd name="T55" fmla="*/ 1098440096 h 273"/>
                <a:gd name="T56" fmla="*/ 2147483647 w 425"/>
                <a:gd name="T57" fmla="*/ 1077715264 h 273"/>
                <a:gd name="T58" fmla="*/ 2147483647 w 425"/>
                <a:gd name="T59" fmla="*/ 932636181 h 273"/>
                <a:gd name="T60" fmla="*/ 2147483647 w 425"/>
                <a:gd name="T61" fmla="*/ 1202066886 h 273"/>
                <a:gd name="T62" fmla="*/ 2147483647 w 425"/>
                <a:gd name="T63" fmla="*/ 1450767831 h 273"/>
                <a:gd name="T64" fmla="*/ 2147483647 w 425"/>
                <a:gd name="T65" fmla="*/ 1595846914 h 273"/>
                <a:gd name="T66" fmla="*/ 1772119541 w 425"/>
                <a:gd name="T67" fmla="*/ 1616571746 h 273"/>
                <a:gd name="T68" fmla="*/ 1675583218 w 425"/>
                <a:gd name="T69" fmla="*/ 1865274991 h 27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25"/>
                <a:gd name="T106" fmla="*/ 0 h 273"/>
                <a:gd name="T107" fmla="*/ 425 w 425"/>
                <a:gd name="T108" fmla="*/ 273 h 27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25" h="273">
                  <a:moveTo>
                    <a:pt x="237" y="273"/>
                  </a:moveTo>
                  <a:cubicBezTo>
                    <a:pt x="231" y="264"/>
                    <a:pt x="216" y="255"/>
                    <a:pt x="210" y="252"/>
                  </a:cubicBezTo>
                  <a:cubicBezTo>
                    <a:pt x="210" y="249"/>
                    <a:pt x="207" y="249"/>
                    <a:pt x="207" y="246"/>
                  </a:cubicBezTo>
                  <a:cubicBezTo>
                    <a:pt x="207" y="234"/>
                    <a:pt x="210" y="228"/>
                    <a:pt x="204" y="219"/>
                  </a:cubicBezTo>
                  <a:cubicBezTo>
                    <a:pt x="195" y="210"/>
                    <a:pt x="195" y="210"/>
                    <a:pt x="192" y="204"/>
                  </a:cubicBezTo>
                  <a:cubicBezTo>
                    <a:pt x="189" y="198"/>
                    <a:pt x="183" y="195"/>
                    <a:pt x="180" y="189"/>
                  </a:cubicBezTo>
                  <a:cubicBezTo>
                    <a:pt x="177" y="189"/>
                    <a:pt x="177" y="189"/>
                    <a:pt x="177" y="189"/>
                  </a:cubicBezTo>
                  <a:cubicBezTo>
                    <a:pt x="177" y="183"/>
                    <a:pt x="177" y="174"/>
                    <a:pt x="177" y="168"/>
                  </a:cubicBezTo>
                  <a:cubicBezTo>
                    <a:pt x="171" y="162"/>
                    <a:pt x="168" y="162"/>
                    <a:pt x="165" y="162"/>
                  </a:cubicBezTo>
                  <a:cubicBezTo>
                    <a:pt x="159" y="168"/>
                    <a:pt x="159" y="171"/>
                    <a:pt x="156" y="180"/>
                  </a:cubicBezTo>
                  <a:cubicBezTo>
                    <a:pt x="156" y="177"/>
                    <a:pt x="153" y="177"/>
                    <a:pt x="153" y="177"/>
                  </a:cubicBezTo>
                  <a:cubicBezTo>
                    <a:pt x="144" y="171"/>
                    <a:pt x="135" y="159"/>
                    <a:pt x="129" y="156"/>
                  </a:cubicBezTo>
                  <a:cubicBezTo>
                    <a:pt x="102" y="153"/>
                    <a:pt x="102" y="144"/>
                    <a:pt x="99" y="126"/>
                  </a:cubicBezTo>
                  <a:cubicBezTo>
                    <a:pt x="93" y="114"/>
                    <a:pt x="87" y="105"/>
                    <a:pt x="84" y="99"/>
                  </a:cubicBezTo>
                  <a:cubicBezTo>
                    <a:pt x="84" y="96"/>
                    <a:pt x="81" y="96"/>
                    <a:pt x="81" y="93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72" y="96"/>
                    <a:pt x="66" y="102"/>
                    <a:pt x="63" y="105"/>
                  </a:cubicBezTo>
                  <a:cubicBezTo>
                    <a:pt x="60" y="108"/>
                    <a:pt x="57" y="114"/>
                    <a:pt x="54" y="120"/>
                  </a:cubicBezTo>
                  <a:cubicBezTo>
                    <a:pt x="42" y="111"/>
                    <a:pt x="45" y="99"/>
                    <a:pt x="42" y="93"/>
                  </a:cubicBezTo>
                  <a:cubicBezTo>
                    <a:pt x="39" y="90"/>
                    <a:pt x="36" y="84"/>
                    <a:pt x="36" y="81"/>
                  </a:cubicBezTo>
                  <a:cubicBezTo>
                    <a:pt x="36" y="75"/>
                    <a:pt x="36" y="69"/>
                    <a:pt x="36" y="63"/>
                  </a:cubicBezTo>
                  <a:cubicBezTo>
                    <a:pt x="27" y="51"/>
                    <a:pt x="18" y="45"/>
                    <a:pt x="12" y="39"/>
                  </a:cubicBezTo>
                  <a:cubicBezTo>
                    <a:pt x="0" y="39"/>
                    <a:pt x="9" y="24"/>
                    <a:pt x="9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21" y="27"/>
                    <a:pt x="30" y="36"/>
                    <a:pt x="45" y="36"/>
                  </a:cubicBezTo>
                  <a:cubicBezTo>
                    <a:pt x="51" y="30"/>
                    <a:pt x="57" y="21"/>
                    <a:pt x="63" y="18"/>
                  </a:cubicBezTo>
                  <a:cubicBezTo>
                    <a:pt x="72" y="6"/>
                    <a:pt x="78" y="0"/>
                    <a:pt x="87" y="15"/>
                  </a:cubicBezTo>
                  <a:cubicBezTo>
                    <a:pt x="90" y="30"/>
                    <a:pt x="105" y="42"/>
                    <a:pt x="123" y="48"/>
                  </a:cubicBezTo>
                  <a:cubicBezTo>
                    <a:pt x="132" y="45"/>
                    <a:pt x="144" y="42"/>
                    <a:pt x="153" y="39"/>
                  </a:cubicBezTo>
                  <a:cubicBezTo>
                    <a:pt x="159" y="30"/>
                    <a:pt x="168" y="24"/>
                    <a:pt x="177" y="18"/>
                  </a:cubicBezTo>
                  <a:cubicBezTo>
                    <a:pt x="177" y="18"/>
                    <a:pt x="177" y="18"/>
                    <a:pt x="180" y="21"/>
                  </a:cubicBezTo>
                  <a:cubicBezTo>
                    <a:pt x="180" y="30"/>
                    <a:pt x="174" y="48"/>
                    <a:pt x="195" y="48"/>
                  </a:cubicBezTo>
                  <a:cubicBezTo>
                    <a:pt x="198" y="48"/>
                    <a:pt x="201" y="45"/>
                    <a:pt x="204" y="45"/>
                  </a:cubicBezTo>
                  <a:cubicBezTo>
                    <a:pt x="213" y="36"/>
                    <a:pt x="219" y="48"/>
                    <a:pt x="228" y="57"/>
                  </a:cubicBezTo>
                  <a:cubicBezTo>
                    <a:pt x="231" y="57"/>
                    <a:pt x="237" y="57"/>
                    <a:pt x="240" y="60"/>
                  </a:cubicBezTo>
                  <a:cubicBezTo>
                    <a:pt x="243" y="66"/>
                    <a:pt x="251" y="81"/>
                    <a:pt x="263" y="90"/>
                  </a:cubicBezTo>
                  <a:cubicBezTo>
                    <a:pt x="263" y="90"/>
                    <a:pt x="266" y="90"/>
                    <a:pt x="269" y="90"/>
                  </a:cubicBezTo>
                  <a:cubicBezTo>
                    <a:pt x="275" y="81"/>
                    <a:pt x="278" y="75"/>
                    <a:pt x="278" y="66"/>
                  </a:cubicBezTo>
                  <a:cubicBezTo>
                    <a:pt x="281" y="66"/>
                    <a:pt x="284" y="69"/>
                    <a:pt x="287" y="69"/>
                  </a:cubicBezTo>
                  <a:cubicBezTo>
                    <a:pt x="290" y="78"/>
                    <a:pt x="296" y="87"/>
                    <a:pt x="308" y="96"/>
                  </a:cubicBezTo>
                  <a:cubicBezTo>
                    <a:pt x="308" y="96"/>
                    <a:pt x="308" y="96"/>
                    <a:pt x="308" y="96"/>
                  </a:cubicBezTo>
                  <a:cubicBezTo>
                    <a:pt x="311" y="102"/>
                    <a:pt x="317" y="105"/>
                    <a:pt x="320" y="108"/>
                  </a:cubicBezTo>
                  <a:cubicBezTo>
                    <a:pt x="326" y="108"/>
                    <a:pt x="332" y="108"/>
                    <a:pt x="335" y="108"/>
                  </a:cubicBezTo>
                  <a:cubicBezTo>
                    <a:pt x="338" y="105"/>
                    <a:pt x="341" y="102"/>
                    <a:pt x="344" y="99"/>
                  </a:cubicBezTo>
                  <a:cubicBezTo>
                    <a:pt x="350" y="96"/>
                    <a:pt x="350" y="96"/>
                    <a:pt x="350" y="96"/>
                  </a:cubicBezTo>
                  <a:cubicBezTo>
                    <a:pt x="350" y="93"/>
                    <a:pt x="350" y="93"/>
                    <a:pt x="350" y="90"/>
                  </a:cubicBezTo>
                  <a:cubicBezTo>
                    <a:pt x="347" y="90"/>
                    <a:pt x="347" y="90"/>
                    <a:pt x="347" y="90"/>
                  </a:cubicBezTo>
                  <a:cubicBezTo>
                    <a:pt x="347" y="84"/>
                    <a:pt x="359" y="81"/>
                    <a:pt x="365" y="78"/>
                  </a:cubicBezTo>
                  <a:cubicBezTo>
                    <a:pt x="368" y="78"/>
                    <a:pt x="371" y="75"/>
                    <a:pt x="371" y="75"/>
                  </a:cubicBezTo>
                  <a:cubicBezTo>
                    <a:pt x="374" y="75"/>
                    <a:pt x="374" y="72"/>
                    <a:pt x="374" y="72"/>
                  </a:cubicBezTo>
                  <a:cubicBezTo>
                    <a:pt x="380" y="72"/>
                    <a:pt x="377" y="81"/>
                    <a:pt x="389" y="87"/>
                  </a:cubicBezTo>
                  <a:cubicBezTo>
                    <a:pt x="395" y="90"/>
                    <a:pt x="401" y="96"/>
                    <a:pt x="407" y="99"/>
                  </a:cubicBezTo>
                  <a:cubicBezTo>
                    <a:pt x="413" y="99"/>
                    <a:pt x="419" y="102"/>
                    <a:pt x="422" y="102"/>
                  </a:cubicBezTo>
                  <a:cubicBezTo>
                    <a:pt x="422" y="108"/>
                    <a:pt x="425" y="123"/>
                    <a:pt x="419" y="129"/>
                  </a:cubicBezTo>
                  <a:cubicBezTo>
                    <a:pt x="416" y="132"/>
                    <a:pt x="416" y="138"/>
                    <a:pt x="413" y="141"/>
                  </a:cubicBezTo>
                  <a:cubicBezTo>
                    <a:pt x="413" y="147"/>
                    <a:pt x="410" y="153"/>
                    <a:pt x="410" y="159"/>
                  </a:cubicBezTo>
                  <a:cubicBezTo>
                    <a:pt x="407" y="159"/>
                    <a:pt x="407" y="159"/>
                    <a:pt x="404" y="159"/>
                  </a:cubicBezTo>
                  <a:cubicBezTo>
                    <a:pt x="404" y="150"/>
                    <a:pt x="392" y="156"/>
                    <a:pt x="392" y="156"/>
                  </a:cubicBezTo>
                  <a:cubicBezTo>
                    <a:pt x="389" y="156"/>
                    <a:pt x="389" y="156"/>
                    <a:pt x="389" y="156"/>
                  </a:cubicBezTo>
                  <a:cubicBezTo>
                    <a:pt x="389" y="147"/>
                    <a:pt x="389" y="141"/>
                    <a:pt x="389" y="135"/>
                  </a:cubicBezTo>
                  <a:cubicBezTo>
                    <a:pt x="380" y="120"/>
                    <a:pt x="371" y="126"/>
                    <a:pt x="365" y="138"/>
                  </a:cubicBezTo>
                  <a:cubicBezTo>
                    <a:pt x="362" y="150"/>
                    <a:pt x="353" y="162"/>
                    <a:pt x="350" y="174"/>
                  </a:cubicBezTo>
                  <a:cubicBezTo>
                    <a:pt x="347" y="177"/>
                    <a:pt x="347" y="180"/>
                    <a:pt x="344" y="183"/>
                  </a:cubicBezTo>
                  <a:cubicBezTo>
                    <a:pt x="323" y="198"/>
                    <a:pt x="311" y="177"/>
                    <a:pt x="314" y="210"/>
                  </a:cubicBezTo>
                  <a:cubicBezTo>
                    <a:pt x="317" y="213"/>
                    <a:pt x="323" y="219"/>
                    <a:pt x="326" y="222"/>
                  </a:cubicBezTo>
                  <a:cubicBezTo>
                    <a:pt x="326" y="225"/>
                    <a:pt x="320" y="231"/>
                    <a:pt x="320" y="231"/>
                  </a:cubicBezTo>
                  <a:cubicBezTo>
                    <a:pt x="308" y="234"/>
                    <a:pt x="287" y="231"/>
                    <a:pt x="281" y="231"/>
                  </a:cubicBezTo>
                  <a:cubicBezTo>
                    <a:pt x="269" y="219"/>
                    <a:pt x="263" y="225"/>
                    <a:pt x="257" y="234"/>
                  </a:cubicBezTo>
                  <a:cubicBezTo>
                    <a:pt x="251" y="243"/>
                    <a:pt x="249" y="255"/>
                    <a:pt x="246" y="264"/>
                  </a:cubicBezTo>
                  <a:cubicBezTo>
                    <a:pt x="243" y="267"/>
                    <a:pt x="243" y="270"/>
                    <a:pt x="243" y="270"/>
                  </a:cubicBezTo>
                  <a:cubicBezTo>
                    <a:pt x="240" y="270"/>
                    <a:pt x="240" y="270"/>
                    <a:pt x="237" y="273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3247333" y="1989287"/>
              <a:ext cx="2362009" cy="1639762"/>
            </a:xfrm>
            <a:custGeom>
              <a:avLst/>
              <a:gdLst>
                <a:gd name="T0" fmla="*/ 2147483647 w 990"/>
                <a:gd name="T1" fmla="*/ 2147483647 h 758"/>
                <a:gd name="T2" fmla="*/ 2147483647 w 990"/>
                <a:gd name="T3" fmla="*/ 2147483647 h 758"/>
                <a:gd name="T4" fmla="*/ 2147483647 w 990"/>
                <a:gd name="T5" fmla="*/ 2147483647 h 758"/>
                <a:gd name="T6" fmla="*/ 2147483647 w 990"/>
                <a:gd name="T7" fmla="*/ 2147483647 h 758"/>
                <a:gd name="T8" fmla="*/ 2147483647 w 990"/>
                <a:gd name="T9" fmla="*/ 2147483647 h 758"/>
                <a:gd name="T10" fmla="*/ 2147483647 w 990"/>
                <a:gd name="T11" fmla="*/ 2147483647 h 758"/>
                <a:gd name="T12" fmla="*/ 2147483647 w 990"/>
                <a:gd name="T13" fmla="*/ 2147483647 h 758"/>
                <a:gd name="T14" fmla="*/ 1938613384 w 990"/>
                <a:gd name="T15" fmla="*/ 2147483647 h 758"/>
                <a:gd name="T16" fmla="*/ 1262512963 w 990"/>
                <a:gd name="T17" fmla="*/ 2147483647 h 758"/>
                <a:gd name="T18" fmla="*/ 931362969 w 990"/>
                <a:gd name="T19" fmla="*/ 2147483647 h 758"/>
                <a:gd name="T20" fmla="*/ 889967907 w 990"/>
                <a:gd name="T21" fmla="*/ 2147483647 h 758"/>
                <a:gd name="T22" fmla="*/ 538120217 w 990"/>
                <a:gd name="T23" fmla="*/ 2147483647 h 758"/>
                <a:gd name="T24" fmla="*/ 310455171 w 990"/>
                <a:gd name="T25" fmla="*/ 2147483647 h 758"/>
                <a:gd name="T26" fmla="*/ 248362577 w 990"/>
                <a:gd name="T27" fmla="*/ 2147483647 h 758"/>
                <a:gd name="T28" fmla="*/ 82787519 w 990"/>
                <a:gd name="T29" fmla="*/ 2147483647 h 758"/>
                <a:gd name="T30" fmla="*/ 20697536 w 990"/>
                <a:gd name="T31" fmla="*/ 2147483647 h 758"/>
                <a:gd name="T32" fmla="*/ 144877507 w 990"/>
                <a:gd name="T33" fmla="*/ 2147483647 h 758"/>
                <a:gd name="T34" fmla="*/ 745090441 w 990"/>
                <a:gd name="T35" fmla="*/ 2147483647 h 758"/>
                <a:gd name="T36" fmla="*/ 1076240435 w 990"/>
                <a:gd name="T37" fmla="*/ 2147483647 h 758"/>
                <a:gd name="T38" fmla="*/ 1448785819 w 990"/>
                <a:gd name="T39" fmla="*/ 2147483647 h 758"/>
                <a:gd name="T40" fmla="*/ 2042098414 w 990"/>
                <a:gd name="T41" fmla="*/ 2147483647 h 758"/>
                <a:gd name="T42" fmla="*/ 2147483647 w 990"/>
                <a:gd name="T43" fmla="*/ 1903676785 h 758"/>
                <a:gd name="T44" fmla="*/ 2147483647 w 990"/>
                <a:gd name="T45" fmla="*/ 1531219611 h 758"/>
                <a:gd name="T46" fmla="*/ 2147483647 w 990"/>
                <a:gd name="T47" fmla="*/ 1138066979 h 758"/>
                <a:gd name="T48" fmla="*/ 2147483647 w 990"/>
                <a:gd name="T49" fmla="*/ 1241529494 h 758"/>
                <a:gd name="T50" fmla="*/ 2147483647 w 990"/>
                <a:gd name="T51" fmla="*/ 972529582 h 758"/>
                <a:gd name="T52" fmla="*/ 2147483647 w 990"/>
                <a:gd name="T53" fmla="*/ 517302232 h 758"/>
                <a:gd name="T54" fmla="*/ 2147483647 w 990"/>
                <a:gd name="T55" fmla="*/ 620764747 h 758"/>
                <a:gd name="T56" fmla="*/ 2147483647 w 990"/>
                <a:gd name="T57" fmla="*/ 62077529 h 758"/>
                <a:gd name="T58" fmla="*/ 2147483647 w 990"/>
                <a:gd name="T59" fmla="*/ 206922485 h 758"/>
                <a:gd name="T60" fmla="*/ 2147483647 w 990"/>
                <a:gd name="T61" fmla="*/ 579379741 h 758"/>
                <a:gd name="T62" fmla="*/ 2147483647 w 990"/>
                <a:gd name="T63" fmla="*/ 972529582 h 758"/>
                <a:gd name="T64" fmla="*/ 2147483647 w 990"/>
                <a:gd name="T65" fmla="*/ 1613986996 h 758"/>
                <a:gd name="T66" fmla="*/ 2147483647 w 990"/>
                <a:gd name="T67" fmla="*/ 1820909399 h 758"/>
                <a:gd name="T68" fmla="*/ 2147483647 w 990"/>
                <a:gd name="T69" fmla="*/ 2147483647 h 758"/>
                <a:gd name="T70" fmla="*/ 2147483647 w 990"/>
                <a:gd name="T71" fmla="*/ 2147483647 h 758"/>
                <a:gd name="T72" fmla="*/ 2147483647 w 990"/>
                <a:gd name="T73" fmla="*/ 2147483647 h 758"/>
                <a:gd name="T74" fmla="*/ 2147483647 w 990"/>
                <a:gd name="T75" fmla="*/ 2147483647 h 758"/>
                <a:gd name="T76" fmla="*/ 2147483647 w 990"/>
                <a:gd name="T77" fmla="*/ 2147483647 h 758"/>
                <a:gd name="T78" fmla="*/ 2147483647 w 990"/>
                <a:gd name="T79" fmla="*/ 2147483647 h 758"/>
                <a:gd name="T80" fmla="*/ 2147483647 w 990"/>
                <a:gd name="T81" fmla="*/ 2147483647 h 758"/>
                <a:gd name="T82" fmla="*/ 2147483647 w 990"/>
                <a:gd name="T83" fmla="*/ 2147483647 h 758"/>
                <a:gd name="T84" fmla="*/ 2147483647 w 990"/>
                <a:gd name="T85" fmla="*/ 2147483647 h 758"/>
                <a:gd name="T86" fmla="*/ 2147483647 w 990"/>
                <a:gd name="T87" fmla="*/ 2147483647 h 7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990"/>
                <a:gd name="T133" fmla="*/ 0 h 758"/>
                <a:gd name="T134" fmla="*/ 990 w 990"/>
                <a:gd name="T135" fmla="*/ 758 h 75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990" h="758">
                  <a:moveTo>
                    <a:pt x="709" y="758"/>
                  </a:moveTo>
                  <a:cubicBezTo>
                    <a:pt x="706" y="755"/>
                    <a:pt x="703" y="755"/>
                    <a:pt x="700" y="755"/>
                  </a:cubicBezTo>
                  <a:cubicBezTo>
                    <a:pt x="697" y="749"/>
                    <a:pt x="694" y="746"/>
                    <a:pt x="688" y="743"/>
                  </a:cubicBezTo>
                  <a:cubicBezTo>
                    <a:pt x="676" y="743"/>
                    <a:pt x="676" y="740"/>
                    <a:pt x="670" y="752"/>
                  </a:cubicBezTo>
                  <a:cubicBezTo>
                    <a:pt x="667" y="749"/>
                    <a:pt x="667" y="749"/>
                    <a:pt x="664" y="749"/>
                  </a:cubicBezTo>
                  <a:cubicBezTo>
                    <a:pt x="661" y="749"/>
                    <a:pt x="655" y="749"/>
                    <a:pt x="652" y="752"/>
                  </a:cubicBezTo>
                  <a:cubicBezTo>
                    <a:pt x="646" y="743"/>
                    <a:pt x="649" y="737"/>
                    <a:pt x="646" y="734"/>
                  </a:cubicBezTo>
                  <a:cubicBezTo>
                    <a:pt x="643" y="731"/>
                    <a:pt x="640" y="731"/>
                    <a:pt x="637" y="728"/>
                  </a:cubicBezTo>
                  <a:cubicBezTo>
                    <a:pt x="622" y="713"/>
                    <a:pt x="610" y="704"/>
                    <a:pt x="592" y="713"/>
                  </a:cubicBezTo>
                  <a:cubicBezTo>
                    <a:pt x="577" y="713"/>
                    <a:pt x="565" y="716"/>
                    <a:pt x="553" y="713"/>
                  </a:cubicBezTo>
                  <a:cubicBezTo>
                    <a:pt x="547" y="713"/>
                    <a:pt x="542" y="710"/>
                    <a:pt x="536" y="707"/>
                  </a:cubicBezTo>
                  <a:cubicBezTo>
                    <a:pt x="530" y="707"/>
                    <a:pt x="524" y="707"/>
                    <a:pt x="521" y="707"/>
                  </a:cubicBezTo>
                  <a:cubicBezTo>
                    <a:pt x="509" y="716"/>
                    <a:pt x="494" y="722"/>
                    <a:pt x="488" y="734"/>
                  </a:cubicBezTo>
                  <a:cubicBezTo>
                    <a:pt x="482" y="734"/>
                    <a:pt x="476" y="734"/>
                    <a:pt x="470" y="734"/>
                  </a:cubicBezTo>
                  <a:cubicBezTo>
                    <a:pt x="464" y="731"/>
                    <a:pt x="461" y="728"/>
                    <a:pt x="455" y="725"/>
                  </a:cubicBezTo>
                  <a:cubicBezTo>
                    <a:pt x="443" y="725"/>
                    <a:pt x="440" y="725"/>
                    <a:pt x="437" y="728"/>
                  </a:cubicBezTo>
                  <a:cubicBezTo>
                    <a:pt x="431" y="731"/>
                    <a:pt x="428" y="731"/>
                    <a:pt x="422" y="734"/>
                  </a:cubicBezTo>
                  <a:cubicBezTo>
                    <a:pt x="410" y="734"/>
                    <a:pt x="404" y="737"/>
                    <a:pt x="395" y="740"/>
                  </a:cubicBezTo>
                  <a:cubicBezTo>
                    <a:pt x="380" y="740"/>
                    <a:pt x="359" y="731"/>
                    <a:pt x="356" y="725"/>
                  </a:cubicBezTo>
                  <a:cubicBezTo>
                    <a:pt x="356" y="707"/>
                    <a:pt x="353" y="710"/>
                    <a:pt x="344" y="704"/>
                  </a:cubicBezTo>
                  <a:cubicBezTo>
                    <a:pt x="326" y="704"/>
                    <a:pt x="329" y="704"/>
                    <a:pt x="320" y="716"/>
                  </a:cubicBezTo>
                  <a:cubicBezTo>
                    <a:pt x="308" y="722"/>
                    <a:pt x="296" y="719"/>
                    <a:pt x="287" y="725"/>
                  </a:cubicBezTo>
                  <a:cubicBezTo>
                    <a:pt x="284" y="725"/>
                    <a:pt x="284" y="725"/>
                    <a:pt x="284" y="725"/>
                  </a:cubicBezTo>
                  <a:cubicBezTo>
                    <a:pt x="284" y="722"/>
                    <a:pt x="281" y="722"/>
                    <a:pt x="281" y="719"/>
                  </a:cubicBezTo>
                  <a:cubicBezTo>
                    <a:pt x="269" y="704"/>
                    <a:pt x="252" y="698"/>
                    <a:pt x="237" y="698"/>
                  </a:cubicBezTo>
                  <a:cubicBezTo>
                    <a:pt x="219" y="710"/>
                    <a:pt x="213" y="716"/>
                    <a:pt x="207" y="734"/>
                  </a:cubicBezTo>
                  <a:cubicBezTo>
                    <a:pt x="198" y="743"/>
                    <a:pt x="195" y="749"/>
                    <a:pt x="183" y="749"/>
                  </a:cubicBezTo>
                  <a:cubicBezTo>
                    <a:pt x="177" y="749"/>
                    <a:pt x="174" y="746"/>
                    <a:pt x="168" y="746"/>
                  </a:cubicBezTo>
                  <a:cubicBezTo>
                    <a:pt x="165" y="743"/>
                    <a:pt x="162" y="740"/>
                    <a:pt x="159" y="740"/>
                  </a:cubicBezTo>
                  <a:cubicBezTo>
                    <a:pt x="156" y="725"/>
                    <a:pt x="141" y="722"/>
                    <a:pt x="135" y="719"/>
                  </a:cubicBezTo>
                  <a:cubicBezTo>
                    <a:pt x="132" y="716"/>
                    <a:pt x="132" y="713"/>
                    <a:pt x="129" y="710"/>
                  </a:cubicBezTo>
                  <a:cubicBezTo>
                    <a:pt x="129" y="704"/>
                    <a:pt x="129" y="698"/>
                    <a:pt x="129" y="689"/>
                  </a:cubicBezTo>
                  <a:cubicBezTo>
                    <a:pt x="132" y="686"/>
                    <a:pt x="129" y="677"/>
                    <a:pt x="129" y="677"/>
                  </a:cubicBezTo>
                  <a:cubicBezTo>
                    <a:pt x="123" y="659"/>
                    <a:pt x="108" y="662"/>
                    <a:pt x="96" y="659"/>
                  </a:cubicBezTo>
                  <a:cubicBezTo>
                    <a:pt x="93" y="656"/>
                    <a:pt x="93" y="653"/>
                    <a:pt x="90" y="650"/>
                  </a:cubicBezTo>
                  <a:cubicBezTo>
                    <a:pt x="84" y="644"/>
                    <a:pt x="81" y="638"/>
                    <a:pt x="78" y="629"/>
                  </a:cubicBezTo>
                  <a:cubicBezTo>
                    <a:pt x="72" y="629"/>
                    <a:pt x="66" y="626"/>
                    <a:pt x="60" y="626"/>
                  </a:cubicBezTo>
                  <a:cubicBezTo>
                    <a:pt x="54" y="614"/>
                    <a:pt x="63" y="602"/>
                    <a:pt x="66" y="593"/>
                  </a:cubicBezTo>
                  <a:cubicBezTo>
                    <a:pt x="66" y="575"/>
                    <a:pt x="54" y="566"/>
                    <a:pt x="45" y="557"/>
                  </a:cubicBezTo>
                  <a:cubicBezTo>
                    <a:pt x="36" y="554"/>
                    <a:pt x="30" y="551"/>
                    <a:pt x="21" y="545"/>
                  </a:cubicBezTo>
                  <a:cubicBezTo>
                    <a:pt x="21" y="545"/>
                    <a:pt x="18" y="545"/>
                    <a:pt x="18" y="542"/>
                  </a:cubicBezTo>
                  <a:cubicBezTo>
                    <a:pt x="18" y="524"/>
                    <a:pt x="18" y="527"/>
                    <a:pt x="36" y="521"/>
                  </a:cubicBezTo>
                  <a:cubicBezTo>
                    <a:pt x="39" y="518"/>
                    <a:pt x="45" y="513"/>
                    <a:pt x="45" y="510"/>
                  </a:cubicBezTo>
                  <a:cubicBezTo>
                    <a:pt x="45" y="495"/>
                    <a:pt x="45" y="477"/>
                    <a:pt x="45" y="462"/>
                  </a:cubicBezTo>
                  <a:cubicBezTo>
                    <a:pt x="42" y="438"/>
                    <a:pt x="24" y="444"/>
                    <a:pt x="12" y="444"/>
                  </a:cubicBezTo>
                  <a:cubicBezTo>
                    <a:pt x="9" y="444"/>
                    <a:pt x="9" y="447"/>
                    <a:pt x="6" y="447"/>
                  </a:cubicBezTo>
                  <a:cubicBezTo>
                    <a:pt x="6" y="450"/>
                    <a:pt x="6" y="450"/>
                    <a:pt x="6" y="450"/>
                  </a:cubicBezTo>
                  <a:cubicBezTo>
                    <a:pt x="3" y="438"/>
                    <a:pt x="3" y="435"/>
                    <a:pt x="3" y="429"/>
                  </a:cubicBezTo>
                  <a:cubicBezTo>
                    <a:pt x="6" y="426"/>
                    <a:pt x="12" y="426"/>
                    <a:pt x="15" y="423"/>
                  </a:cubicBezTo>
                  <a:cubicBezTo>
                    <a:pt x="15" y="420"/>
                    <a:pt x="15" y="414"/>
                    <a:pt x="15" y="411"/>
                  </a:cubicBezTo>
                  <a:cubicBezTo>
                    <a:pt x="3" y="393"/>
                    <a:pt x="0" y="405"/>
                    <a:pt x="21" y="390"/>
                  </a:cubicBezTo>
                  <a:cubicBezTo>
                    <a:pt x="24" y="384"/>
                    <a:pt x="30" y="378"/>
                    <a:pt x="33" y="372"/>
                  </a:cubicBezTo>
                  <a:cubicBezTo>
                    <a:pt x="42" y="369"/>
                    <a:pt x="48" y="366"/>
                    <a:pt x="54" y="363"/>
                  </a:cubicBezTo>
                  <a:cubicBezTo>
                    <a:pt x="78" y="363"/>
                    <a:pt x="90" y="363"/>
                    <a:pt x="108" y="354"/>
                  </a:cubicBezTo>
                  <a:cubicBezTo>
                    <a:pt x="111" y="354"/>
                    <a:pt x="114" y="354"/>
                    <a:pt x="117" y="354"/>
                  </a:cubicBezTo>
                  <a:cubicBezTo>
                    <a:pt x="117" y="360"/>
                    <a:pt x="120" y="375"/>
                    <a:pt x="135" y="378"/>
                  </a:cubicBezTo>
                  <a:cubicBezTo>
                    <a:pt x="141" y="378"/>
                    <a:pt x="150" y="378"/>
                    <a:pt x="156" y="375"/>
                  </a:cubicBezTo>
                  <a:cubicBezTo>
                    <a:pt x="162" y="366"/>
                    <a:pt x="165" y="360"/>
                    <a:pt x="171" y="354"/>
                  </a:cubicBezTo>
                  <a:cubicBezTo>
                    <a:pt x="180" y="354"/>
                    <a:pt x="186" y="357"/>
                    <a:pt x="198" y="354"/>
                  </a:cubicBezTo>
                  <a:cubicBezTo>
                    <a:pt x="201" y="348"/>
                    <a:pt x="204" y="348"/>
                    <a:pt x="210" y="342"/>
                  </a:cubicBezTo>
                  <a:cubicBezTo>
                    <a:pt x="213" y="342"/>
                    <a:pt x="216" y="342"/>
                    <a:pt x="219" y="342"/>
                  </a:cubicBezTo>
                  <a:cubicBezTo>
                    <a:pt x="228" y="345"/>
                    <a:pt x="234" y="348"/>
                    <a:pt x="246" y="348"/>
                  </a:cubicBezTo>
                  <a:cubicBezTo>
                    <a:pt x="257" y="342"/>
                    <a:pt x="278" y="345"/>
                    <a:pt x="296" y="339"/>
                  </a:cubicBezTo>
                  <a:cubicBezTo>
                    <a:pt x="302" y="336"/>
                    <a:pt x="308" y="330"/>
                    <a:pt x="314" y="327"/>
                  </a:cubicBezTo>
                  <a:cubicBezTo>
                    <a:pt x="317" y="321"/>
                    <a:pt x="320" y="315"/>
                    <a:pt x="320" y="312"/>
                  </a:cubicBezTo>
                  <a:cubicBezTo>
                    <a:pt x="335" y="306"/>
                    <a:pt x="338" y="288"/>
                    <a:pt x="341" y="276"/>
                  </a:cubicBezTo>
                  <a:cubicBezTo>
                    <a:pt x="347" y="273"/>
                    <a:pt x="356" y="270"/>
                    <a:pt x="359" y="267"/>
                  </a:cubicBezTo>
                  <a:cubicBezTo>
                    <a:pt x="362" y="261"/>
                    <a:pt x="365" y="255"/>
                    <a:pt x="365" y="249"/>
                  </a:cubicBezTo>
                  <a:cubicBezTo>
                    <a:pt x="365" y="240"/>
                    <a:pt x="368" y="231"/>
                    <a:pt x="368" y="222"/>
                  </a:cubicBezTo>
                  <a:cubicBezTo>
                    <a:pt x="365" y="216"/>
                    <a:pt x="365" y="213"/>
                    <a:pt x="365" y="210"/>
                  </a:cubicBezTo>
                  <a:cubicBezTo>
                    <a:pt x="365" y="192"/>
                    <a:pt x="371" y="177"/>
                    <a:pt x="365" y="168"/>
                  </a:cubicBezTo>
                  <a:cubicBezTo>
                    <a:pt x="362" y="168"/>
                    <a:pt x="362" y="165"/>
                    <a:pt x="362" y="165"/>
                  </a:cubicBezTo>
                  <a:cubicBezTo>
                    <a:pt x="380" y="165"/>
                    <a:pt x="395" y="165"/>
                    <a:pt x="413" y="168"/>
                  </a:cubicBezTo>
                  <a:cubicBezTo>
                    <a:pt x="425" y="174"/>
                    <a:pt x="437" y="168"/>
                    <a:pt x="452" y="180"/>
                  </a:cubicBezTo>
                  <a:cubicBezTo>
                    <a:pt x="455" y="180"/>
                    <a:pt x="458" y="180"/>
                    <a:pt x="461" y="180"/>
                  </a:cubicBezTo>
                  <a:cubicBezTo>
                    <a:pt x="464" y="177"/>
                    <a:pt x="464" y="174"/>
                    <a:pt x="467" y="174"/>
                  </a:cubicBezTo>
                  <a:cubicBezTo>
                    <a:pt x="467" y="171"/>
                    <a:pt x="467" y="168"/>
                    <a:pt x="467" y="165"/>
                  </a:cubicBezTo>
                  <a:cubicBezTo>
                    <a:pt x="464" y="156"/>
                    <a:pt x="464" y="147"/>
                    <a:pt x="467" y="141"/>
                  </a:cubicBezTo>
                  <a:cubicBezTo>
                    <a:pt x="476" y="132"/>
                    <a:pt x="482" y="126"/>
                    <a:pt x="488" y="120"/>
                  </a:cubicBezTo>
                  <a:cubicBezTo>
                    <a:pt x="491" y="102"/>
                    <a:pt x="497" y="99"/>
                    <a:pt x="506" y="87"/>
                  </a:cubicBezTo>
                  <a:cubicBezTo>
                    <a:pt x="509" y="78"/>
                    <a:pt x="506" y="75"/>
                    <a:pt x="518" y="75"/>
                  </a:cubicBezTo>
                  <a:cubicBezTo>
                    <a:pt x="527" y="81"/>
                    <a:pt x="539" y="87"/>
                    <a:pt x="547" y="96"/>
                  </a:cubicBezTo>
                  <a:cubicBezTo>
                    <a:pt x="553" y="96"/>
                    <a:pt x="565" y="96"/>
                    <a:pt x="574" y="105"/>
                  </a:cubicBezTo>
                  <a:cubicBezTo>
                    <a:pt x="586" y="105"/>
                    <a:pt x="610" y="105"/>
                    <a:pt x="616" y="90"/>
                  </a:cubicBezTo>
                  <a:cubicBezTo>
                    <a:pt x="616" y="78"/>
                    <a:pt x="613" y="66"/>
                    <a:pt x="613" y="54"/>
                  </a:cubicBezTo>
                  <a:cubicBezTo>
                    <a:pt x="625" y="30"/>
                    <a:pt x="640" y="30"/>
                    <a:pt x="667" y="27"/>
                  </a:cubicBezTo>
                  <a:cubicBezTo>
                    <a:pt x="676" y="24"/>
                    <a:pt x="679" y="15"/>
                    <a:pt x="682" y="9"/>
                  </a:cubicBezTo>
                  <a:cubicBezTo>
                    <a:pt x="682" y="6"/>
                    <a:pt x="685" y="3"/>
                    <a:pt x="688" y="3"/>
                  </a:cubicBezTo>
                  <a:cubicBezTo>
                    <a:pt x="694" y="0"/>
                    <a:pt x="703" y="0"/>
                    <a:pt x="709" y="0"/>
                  </a:cubicBezTo>
                  <a:cubicBezTo>
                    <a:pt x="712" y="3"/>
                    <a:pt x="715" y="21"/>
                    <a:pt x="718" y="30"/>
                  </a:cubicBezTo>
                  <a:cubicBezTo>
                    <a:pt x="724" y="42"/>
                    <a:pt x="733" y="51"/>
                    <a:pt x="739" y="63"/>
                  </a:cubicBezTo>
                  <a:cubicBezTo>
                    <a:pt x="745" y="66"/>
                    <a:pt x="757" y="69"/>
                    <a:pt x="769" y="72"/>
                  </a:cubicBezTo>
                  <a:cubicBezTo>
                    <a:pt x="775" y="75"/>
                    <a:pt x="778" y="81"/>
                    <a:pt x="784" y="84"/>
                  </a:cubicBezTo>
                  <a:cubicBezTo>
                    <a:pt x="787" y="87"/>
                    <a:pt x="790" y="93"/>
                    <a:pt x="793" y="96"/>
                  </a:cubicBezTo>
                  <a:cubicBezTo>
                    <a:pt x="793" y="105"/>
                    <a:pt x="793" y="114"/>
                    <a:pt x="796" y="123"/>
                  </a:cubicBezTo>
                  <a:cubicBezTo>
                    <a:pt x="799" y="129"/>
                    <a:pt x="802" y="135"/>
                    <a:pt x="805" y="141"/>
                  </a:cubicBezTo>
                  <a:cubicBezTo>
                    <a:pt x="805" y="150"/>
                    <a:pt x="811" y="171"/>
                    <a:pt x="802" y="183"/>
                  </a:cubicBezTo>
                  <a:cubicBezTo>
                    <a:pt x="781" y="195"/>
                    <a:pt x="784" y="189"/>
                    <a:pt x="784" y="213"/>
                  </a:cubicBezTo>
                  <a:cubicBezTo>
                    <a:pt x="784" y="216"/>
                    <a:pt x="784" y="225"/>
                    <a:pt x="790" y="234"/>
                  </a:cubicBezTo>
                  <a:cubicBezTo>
                    <a:pt x="796" y="237"/>
                    <a:pt x="802" y="243"/>
                    <a:pt x="808" y="246"/>
                  </a:cubicBezTo>
                  <a:cubicBezTo>
                    <a:pt x="814" y="246"/>
                    <a:pt x="823" y="249"/>
                    <a:pt x="831" y="252"/>
                  </a:cubicBezTo>
                  <a:cubicBezTo>
                    <a:pt x="846" y="264"/>
                    <a:pt x="864" y="264"/>
                    <a:pt x="888" y="264"/>
                  </a:cubicBezTo>
                  <a:cubicBezTo>
                    <a:pt x="894" y="267"/>
                    <a:pt x="909" y="279"/>
                    <a:pt x="918" y="288"/>
                  </a:cubicBezTo>
                  <a:cubicBezTo>
                    <a:pt x="924" y="297"/>
                    <a:pt x="933" y="303"/>
                    <a:pt x="939" y="309"/>
                  </a:cubicBezTo>
                  <a:cubicBezTo>
                    <a:pt x="948" y="309"/>
                    <a:pt x="957" y="312"/>
                    <a:pt x="963" y="321"/>
                  </a:cubicBezTo>
                  <a:cubicBezTo>
                    <a:pt x="966" y="330"/>
                    <a:pt x="969" y="345"/>
                    <a:pt x="975" y="357"/>
                  </a:cubicBezTo>
                  <a:cubicBezTo>
                    <a:pt x="978" y="360"/>
                    <a:pt x="984" y="360"/>
                    <a:pt x="987" y="369"/>
                  </a:cubicBezTo>
                  <a:cubicBezTo>
                    <a:pt x="987" y="375"/>
                    <a:pt x="984" y="378"/>
                    <a:pt x="984" y="384"/>
                  </a:cubicBezTo>
                  <a:cubicBezTo>
                    <a:pt x="987" y="387"/>
                    <a:pt x="987" y="390"/>
                    <a:pt x="990" y="396"/>
                  </a:cubicBezTo>
                  <a:cubicBezTo>
                    <a:pt x="978" y="402"/>
                    <a:pt x="978" y="402"/>
                    <a:pt x="975" y="417"/>
                  </a:cubicBezTo>
                  <a:cubicBezTo>
                    <a:pt x="975" y="423"/>
                    <a:pt x="975" y="429"/>
                    <a:pt x="975" y="435"/>
                  </a:cubicBezTo>
                  <a:cubicBezTo>
                    <a:pt x="975" y="441"/>
                    <a:pt x="978" y="447"/>
                    <a:pt x="978" y="453"/>
                  </a:cubicBezTo>
                  <a:cubicBezTo>
                    <a:pt x="975" y="453"/>
                    <a:pt x="975" y="453"/>
                    <a:pt x="975" y="453"/>
                  </a:cubicBezTo>
                  <a:cubicBezTo>
                    <a:pt x="963" y="456"/>
                    <a:pt x="951" y="456"/>
                    <a:pt x="939" y="456"/>
                  </a:cubicBezTo>
                  <a:cubicBezTo>
                    <a:pt x="912" y="459"/>
                    <a:pt x="900" y="462"/>
                    <a:pt x="891" y="486"/>
                  </a:cubicBezTo>
                  <a:cubicBezTo>
                    <a:pt x="885" y="495"/>
                    <a:pt x="879" y="498"/>
                    <a:pt x="876" y="510"/>
                  </a:cubicBezTo>
                  <a:cubicBezTo>
                    <a:pt x="864" y="518"/>
                    <a:pt x="846" y="518"/>
                    <a:pt x="834" y="518"/>
                  </a:cubicBezTo>
                  <a:cubicBezTo>
                    <a:pt x="834" y="524"/>
                    <a:pt x="829" y="533"/>
                    <a:pt x="823" y="539"/>
                  </a:cubicBezTo>
                  <a:cubicBezTo>
                    <a:pt x="820" y="548"/>
                    <a:pt x="823" y="557"/>
                    <a:pt x="829" y="572"/>
                  </a:cubicBezTo>
                  <a:cubicBezTo>
                    <a:pt x="829" y="578"/>
                    <a:pt x="829" y="581"/>
                    <a:pt x="829" y="587"/>
                  </a:cubicBezTo>
                  <a:cubicBezTo>
                    <a:pt x="820" y="587"/>
                    <a:pt x="811" y="590"/>
                    <a:pt x="802" y="593"/>
                  </a:cubicBezTo>
                  <a:cubicBezTo>
                    <a:pt x="793" y="593"/>
                    <a:pt x="787" y="599"/>
                    <a:pt x="781" y="602"/>
                  </a:cubicBezTo>
                  <a:cubicBezTo>
                    <a:pt x="757" y="611"/>
                    <a:pt x="733" y="614"/>
                    <a:pt x="712" y="614"/>
                  </a:cubicBezTo>
                  <a:cubicBezTo>
                    <a:pt x="703" y="614"/>
                    <a:pt x="703" y="614"/>
                    <a:pt x="697" y="617"/>
                  </a:cubicBezTo>
                  <a:cubicBezTo>
                    <a:pt x="697" y="626"/>
                    <a:pt x="697" y="626"/>
                    <a:pt x="706" y="635"/>
                  </a:cubicBezTo>
                  <a:cubicBezTo>
                    <a:pt x="697" y="647"/>
                    <a:pt x="706" y="656"/>
                    <a:pt x="718" y="665"/>
                  </a:cubicBezTo>
                  <a:cubicBezTo>
                    <a:pt x="724" y="668"/>
                    <a:pt x="727" y="674"/>
                    <a:pt x="730" y="680"/>
                  </a:cubicBezTo>
                  <a:cubicBezTo>
                    <a:pt x="736" y="683"/>
                    <a:pt x="739" y="686"/>
                    <a:pt x="739" y="698"/>
                  </a:cubicBezTo>
                  <a:cubicBezTo>
                    <a:pt x="736" y="701"/>
                    <a:pt x="733" y="701"/>
                    <a:pt x="733" y="704"/>
                  </a:cubicBezTo>
                  <a:cubicBezTo>
                    <a:pt x="715" y="713"/>
                    <a:pt x="715" y="710"/>
                    <a:pt x="715" y="731"/>
                  </a:cubicBezTo>
                  <a:cubicBezTo>
                    <a:pt x="718" y="734"/>
                    <a:pt x="724" y="740"/>
                    <a:pt x="724" y="752"/>
                  </a:cubicBezTo>
                  <a:cubicBezTo>
                    <a:pt x="718" y="758"/>
                    <a:pt x="712" y="758"/>
                    <a:pt x="709" y="758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4803258" y="3272067"/>
              <a:ext cx="1482385" cy="974181"/>
            </a:xfrm>
            <a:custGeom>
              <a:avLst/>
              <a:gdLst>
                <a:gd name="T0" fmla="*/ 1789808319 w 622"/>
                <a:gd name="T1" fmla="*/ 2147483647 h 450"/>
                <a:gd name="T2" fmla="*/ 1459380554 w 622"/>
                <a:gd name="T3" fmla="*/ 2147483647 h 450"/>
                <a:gd name="T4" fmla="*/ 846717051 w 622"/>
                <a:gd name="T5" fmla="*/ 2147483647 h 450"/>
                <a:gd name="T6" fmla="*/ 495637877 w 622"/>
                <a:gd name="T7" fmla="*/ 2147483647 h 450"/>
                <a:gd name="T8" fmla="*/ 227169007 w 622"/>
                <a:gd name="T9" fmla="*/ 2147483647 h 450"/>
                <a:gd name="T10" fmla="*/ 0 w 622"/>
                <a:gd name="T11" fmla="*/ 1409112578 h 450"/>
                <a:gd name="T12" fmla="*/ 20651249 w 622"/>
                <a:gd name="T13" fmla="*/ 1119001590 h 450"/>
                <a:gd name="T14" fmla="*/ 144561369 w 622"/>
                <a:gd name="T15" fmla="*/ 1119001590 h 450"/>
                <a:gd name="T16" fmla="*/ 371730417 w 622"/>
                <a:gd name="T17" fmla="*/ 1160445595 h 450"/>
                <a:gd name="T18" fmla="*/ 536942988 w 622"/>
                <a:gd name="T19" fmla="*/ 1119001590 h 450"/>
                <a:gd name="T20" fmla="*/ 474986634 w 622"/>
                <a:gd name="T21" fmla="*/ 870334935 h 450"/>
                <a:gd name="T22" fmla="*/ 619547961 w 622"/>
                <a:gd name="T23" fmla="*/ 766723610 h 450"/>
                <a:gd name="T24" fmla="*/ 413032904 w 622"/>
                <a:gd name="T25" fmla="*/ 414445465 h 450"/>
                <a:gd name="T26" fmla="*/ 351076550 w 622"/>
                <a:gd name="T27" fmla="*/ 207222733 h 450"/>
                <a:gd name="T28" fmla="*/ 867368294 w 622"/>
                <a:gd name="T29" fmla="*/ 124334683 h 450"/>
                <a:gd name="T30" fmla="*/ 1356124009 w 622"/>
                <a:gd name="T31" fmla="*/ 20723321 h 450"/>
                <a:gd name="T32" fmla="*/ 2058277108 w 622"/>
                <a:gd name="T33" fmla="*/ 248666737 h 450"/>
                <a:gd name="T34" fmla="*/ 2147483647 w 622"/>
                <a:gd name="T35" fmla="*/ 414445465 h 450"/>
                <a:gd name="T36" fmla="*/ 2147483647 w 622"/>
                <a:gd name="T37" fmla="*/ 373001461 h 450"/>
                <a:gd name="T38" fmla="*/ 2147483647 w 622"/>
                <a:gd name="T39" fmla="*/ 165778687 h 450"/>
                <a:gd name="T40" fmla="*/ 2147483647 w 622"/>
                <a:gd name="T41" fmla="*/ 290110742 h 450"/>
                <a:gd name="T42" fmla="*/ 2147483647 w 622"/>
                <a:gd name="T43" fmla="*/ 435166154 h 450"/>
                <a:gd name="T44" fmla="*/ 2147483647 w 622"/>
                <a:gd name="T45" fmla="*/ 476612786 h 450"/>
                <a:gd name="T46" fmla="*/ 2147483647 w 622"/>
                <a:gd name="T47" fmla="*/ 621668116 h 450"/>
                <a:gd name="T48" fmla="*/ 2147483647 w 622"/>
                <a:gd name="T49" fmla="*/ 808167614 h 450"/>
                <a:gd name="T50" fmla="*/ 2147483647 w 622"/>
                <a:gd name="T51" fmla="*/ 1077557586 h 450"/>
                <a:gd name="T52" fmla="*/ 2147483647 w 622"/>
                <a:gd name="T53" fmla="*/ 1409112578 h 450"/>
                <a:gd name="T54" fmla="*/ 2147483647 w 622"/>
                <a:gd name="T55" fmla="*/ 1865001884 h 450"/>
                <a:gd name="T56" fmla="*/ 2147483647 w 622"/>
                <a:gd name="T57" fmla="*/ 2010057214 h 450"/>
                <a:gd name="T58" fmla="*/ 2147483647 w 622"/>
                <a:gd name="T59" fmla="*/ 2147483647 h 450"/>
                <a:gd name="T60" fmla="*/ 2147483647 w 622"/>
                <a:gd name="T61" fmla="*/ 2092945223 h 450"/>
                <a:gd name="T62" fmla="*/ 2147483647 w 622"/>
                <a:gd name="T63" fmla="*/ 2147483647 h 450"/>
                <a:gd name="T64" fmla="*/ 2147483647 w 622"/>
                <a:gd name="T65" fmla="*/ 2147483647 h 450"/>
                <a:gd name="T66" fmla="*/ 2147483647 w 622"/>
                <a:gd name="T67" fmla="*/ 2147483647 h 450"/>
                <a:gd name="T68" fmla="*/ 2147483647 w 622"/>
                <a:gd name="T69" fmla="*/ 2147483647 h 450"/>
                <a:gd name="T70" fmla="*/ 2147483647 w 622"/>
                <a:gd name="T71" fmla="*/ 2147483647 h 450"/>
                <a:gd name="T72" fmla="*/ 2147483647 w 622"/>
                <a:gd name="T73" fmla="*/ 2147483647 h 450"/>
                <a:gd name="T74" fmla="*/ 2147483647 w 622"/>
                <a:gd name="T75" fmla="*/ 2147483647 h 450"/>
                <a:gd name="T76" fmla="*/ 2147483647 w 622"/>
                <a:gd name="T77" fmla="*/ 2147483647 h 450"/>
                <a:gd name="T78" fmla="*/ 2147483647 w 622"/>
                <a:gd name="T79" fmla="*/ 2147483647 h 450"/>
                <a:gd name="T80" fmla="*/ 2147483647 w 622"/>
                <a:gd name="T81" fmla="*/ 2147483647 h 450"/>
                <a:gd name="T82" fmla="*/ 2147483647 w 622"/>
                <a:gd name="T83" fmla="*/ 2147483647 h 450"/>
                <a:gd name="T84" fmla="*/ 2140884705 w 622"/>
                <a:gd name="T85" fmla="*/ 2147483647 h 450"/>
                <a:gd name="T86" fmla="*/ 1934369647 w 622"/>
                <a:gd name="T87" fmla="*/ 2147483647 h 45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22"/>
                <a:gd name="T133" fmla="*/ 0 h 450"/>
                <a:gd name="T134" fmla="*/ 622 w 622"/>
                <a:gd name="T135" fmla="*/ 450 h 45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22" h="450">
                  <a:moveTo>
                    <a:pt x="275" y="450"/>
                  </a:moveTo>
                  <a:cubicBezTo>
                    <a:pt x="269" y="444"/>
                    <a:pt x="263" y="441"/>
                    <a:pt x="260" y="435"/>
                  </a:cubicBezTo>
                  <a:cubicBezTo>
                    <a:pt x="257" y="420"/>
                    <a:pt x="251" y="408"/>
                    <a:pt x="245" y="399"/>
                  </a:cubicBezTo>
                  <a:cubicBezTo>
                    <a:pt x="233" y="384"/>
                    <a:pt x="224" y="384"/>
                    <a:pt x="212" y="378"/>
                  </a:cubicBezTo>
                  <a:cubicBezTo>
                    <a:pt x="194" y="378"/>
                    <a:pt x="177" y="381"/>
                    <a:pt x="159" y="381"/>
                  </a:cubicBezTo>
                  <a:cubicBezTo>
                    <a:pt x="141" y="378"/>
                    <a:pt x="132" y="369"/>
                    <a:pt x="123" y="360"/>
                  </a:cubicBezTo>
                  <a:cubicBezTo>
                    <a:pt x="105" y="357"/>
                    <a:pt x="90" y="354"/>
                    <a:pt x="78" y="345"/>
                  </a:cubicBezTo>
                  <a:cubicBezTo>
                    <a:pt x="78" y="342"/>
                    <a:pt x="72" y="336"/>
                    <a:pt x="72" y="333"/>
                  </a:cubicBezTo>
                  <a:cubicBezTo>
                    <a:pt x="69" y="330"/>
                    <a:pt x="69" y="330"/>
                    <a:pt x="69" y="330"/>
                  </a:cubicBezTo>
                  <a:cubicBezTo>
                    <a:pt x="54" y="327"/>
                    <a:pt x="42" y="324"/>
                    <a:pt x="33" y="318"/>
                  </a:cubicBezTo>
                  <a:cubicBezTo>
                    <a:pt x="12" y="312"/>
                    <a:pt x="6" y="282"/>
                    <a:pt x="3" y="270"/>
                  </a:cubicBezTo>
                  <a:cubicBezTo>
                    <a:pt x="0" y="246"/>
                    <a:pt x="0" y="225"/>
                    <a:pt x="0" y="204"/>
                  </a:cubicBezTo>
                  <a:cubicBezTo>
                    <a:pt x="3" y="198"/>
                    <a:pt x="9" y="186"/>
                    <a:pt x="9" y="180"/>
                  </a:cubicBezTo>
                  <a:cubicBezTo>
                    <a:pt x="9" y="171"/>
                    <a:pt x="3" y="165"/>
                    <a:pt x="3" y="162"/>
                  </a:cubicBezTo>
                  <a:cubicBezTo>
                    <a:pt x="6" y="162"/>
                    <a:pt x="9" y="162"/>
                    <a:pt x="9" y="162"/>
                  </a:cubicBezTo>
                  <a:cubicBezTo>
                    <a:pt x="12" y="165"/>
                    <a:pt x="18" y="162"/>
                    <a:pt x="21" y="162"/>
                  </a:cubicBezTo>
                  <a:cubicBezTo>
                    <a:pt x="24" y="159"/>
                    <a:pt x="24" y="159"/>
                    <a:pt x="24" y="156"/>
                  </a:cubicBezTo>
                  <a:cubicBezTo>
                    <a:pt x="36" y="150"/>
                    <a:pt x="39" y="162"/>
                    <a:pt x="54" y="168"/>
                  </a:cubicBezTo>
                  <a:cubicBezTo>
                    <a:pt x="57" y="168"/>
                    <a:pt x="69" y="171"/>
                    <a:pt x="75" y="168"/>
                  </a:cubicBezTo>
                  <a:cubicBezTo>
                    <a:pt x="75" y="165"/>
                    <a:pt x="78" y="162"/>
                    <a:pt x="78" y="162"/>
                  </a:cubicBezTo>
                  <a:cubicBezTo>
                    <a:pt x="78" y="156"/>
                    <a:pt x="78" y="153"/>
                    <a:pt x="78" y="150"/>
                  </a:cubicBezTo>
                  <a:cubicBezTo>
                    <a:pt x="72" y="138"/>
                    <a:pt x="63" y="132"/>
                    <a:pt x="69" y="126"/>
                  </a:cubicBezTo>
                  <a:cubicBezTo>
                    <a:pt x="75" y="120"/>
                    <a:pt x="78" y="120"/>
                    <a:pt x="84" y="117"/>
                  </a:cubicBezTo>
                  <a:cubicBezTo>
                    <a:pt x="84" y="114"/>
                    <a:pt x="87" y="111"/>
                    <a:pt x="90" y="111"/>
                  </a:cubicBezTo>
                  <a:cubicBezTo>
                    <a:pt x="99" y="90"/>
                    <a:pt x="87" y="87"/>
                    <a:pt x="78" y="81"/>
                  </a:cubicBezTo>
                  <a:cubicBezTo>
                    <a:pt x="75" y="69"/>
                    <a:pt x="66" y="60"/>
                    <a:pt x="60" y="60"/>
                  </a:cubicBezTo>
                  <a:cubicBezTo>
                    <a:pt x="60" y="57"/>
                    <a:pt x="57" y="54"/>
                    <a:pt x="57" y="51"/>
                  </a:cubicBezTo>
                  <a:cubicBezTo>
                    <a:pt x="63" y="42"/>
                    <a:pt x="54" y="33"/>
                    <a:pt x="51" y="30"/>
                  </a:cubicBezTo>
                  <a:cubicBezTo>
                    <a:pt x="51" y="30"/>
                    <a:pt x="51" y="30"/>
                    <a:pt x="51" y="27"/>
                  </a:cubicBezTo>
                  <a:cubicBezTo>
                    <a:pt x="72" y="21"/>
                    <a:pt x="102" y="24"/>
                    <a:pt x="126" y="18"/>
                  </a:cubicBezTo>
                  <a:cubicBezTo>
                    <a:pt x="144" y="6"/>
                    <a:pt x="162" y="0"/>
                    <a:pt x="188" y="0"/>
                  </a:cubicBezTo>
                  <a:cubicBezTo>
                    <a:pt x="191" y="0"/>
                    <a:pt x="194" y="3"/>
                    <a:pt x="197" y="3"/>
                  </a:cubicBezTo>
                  <a:cubicBezTo>
                    <a:pt x="218" y="3"/>
                    <a:pt x="239" y="0"/>
                    <a:pt x="260" y="9"/>
                  </a:cubicBezTo>
                  <a:cubicBezTo>
                    <a:pt x="275" y="18"/>
                    <a:pt x="287" y="27"/>
                    <a:pt x="299" y="36"/>
                  </a:cubicBezTo>
                  <a:cubicBezTo>
                    <a:pt x="302" y="36"/>
                    <a:pt x="302" y="39"/>
                    <a:pt x="305" y="42"/>
                  </a:cubicBezTo>
                  <a:cubicBezTo>
                    <a:pt x="311" y="45"/>
                    <a:pt x="320" y="54"/>
                    <a:pt x="335" y="60"/>
                  </a:cubicBezTo>
                  <a:cubicBezTo>
                    <a:pt x="341" y="60"/>
                    <a:pt x="347" y="60"/>
                    <a:pt x="350" y="60"/>
                  </a:cubicBezTo>
                  <a:cubicBezTo>
                    <a:pt x="353" y="57"/>
                    <a:pt x="356" y="54"/>
                    <a:pt x="359" y="54"/>
                  </a:cubicBezTo>
                  <a:cubicBezTo>
                    <a:pt x="359" y="42"/>
                    <a:pt x="359" y="33"/>
                    <a:pt x="356" y="27"/>
                  </a:cubicBezTo>
                  <a:cubicBezTo>
                    <a:pt x="362" y="24"/>
                    <a:pt x="371" y="24"/>
                    <a:pt x="380" y="24"/>
                  </a:cubicBezTo>
                  <a:cubicBezTo>
                    <a:pt x="383" y="27"/>
                    <a:pt x="389" y="30"/>
                    <a:pt x="395" y="36"/>
                  </a:cubicBezTo>
                  <a:cubicBezTo>
                    <a:pt x="404" y="36"/>
                    <a:pt x="413" y="39"/>
                    <a:pt x="428" y="42"/>
                  </a:cubicBezTo>
                  <a:cubicBezTo>
                    <a:pt x="434" y="45"/>
                    <a:pt x="440" y="48"/>
                    <a:pt x="446" y="51"/>
                  </a:cubicBezTo>
                  <a:cubicBezTo>
                    <a:pt x="452" y="54"/>
                    <a:pt x="458" y="57"/>
                    <a:pt x="464" y="63"/>
                  </a:cubicBezTo>
                  <a:cubicBezTo>
                    <a:pt x="464" y="63"/>
                    <a:pt x="464" y="63"/>
                    <a:pt x="464" y="63"/>
                  </a:cubicBezTo>
                  <a:cubicBezTo>
                    <a:pt x="464" y="66"/>
                    <a:pt x="467" y="66"/>
                    <a:pt x="467" y="69"/>
                  </a:cubicBezTo>
                  <a:cubicBezTo>
                    <a:pt x="475" y="69"/>
                    <a:pt x="484" y="69"/>
                    <a:pt x="493" y="66"/>
                  </a:cubicBezTo>
                  <a:cubicBezTo>
                    <a:pt x="499" y="75"/>
                    <a:pt x="505" y="81"/>
                    <a:pt x="514" y="90"/>
                  </a:cubicBezTo>
                  <a:cubicBezTo>
                    <a:pt x="523" y="96"/>
                    <a:pt x="532" y="105"/>
                    <a:pt x="541" y="111"/>
                  </a:cubicBezTo>
                  <a:cubicBezTo>
                    <a:pt x="547" y="114"/>
                    <a:pt x="550" y="114"/>
                    <a:pt x="556" y="117"/>
                  </a:cubicBezTo>
                  <a:cubicBezTo>
                    <a:pt x="562" y="117"/>
                    <a:pt x="571" y="117"/>
                    <a:pt x="580" y="117"/>
                  </a:cubicBezTo>
                  <a:cubicBezTo>
                    <a:pt x="586" y="123"/>
                    <a:pt x="592" y="144"/>
                    <a:pt x="595" y="156"/>
                  </a:cubicBezTo>
                  <a:cubicBezTo>
                    <a:pt x="598" y="165"/>
                    <a:pt x="601" y="174"/>
                    <a:pt x="604" y="183"/>
                  </a:cubicBezTo>
                  <a:cubicBezTo>
                    <a:pt x="607" y="189"/>
                    <a:pt x="607" y="198"/>
                    <a:pt x="607" y="204"/>
                  </a:cubicBezTo>
                  <a:cubicBezTo>
                    <a:pt x="610" y="210"/>
                    <a:pt x="622" y="222"/>
                    <a:pt x="610" y="231"/>
                  </a:cubicBezTo>
                  <a:cubicBezTo>
                    <a:pt x="589" y="243"/>
                    <a:pt x="589" y="246"/>
                    <a:pt x="574" y="270"/>
                  </a:cubicBezTo>
                  <a:cubicBezTo>
                    <a:pt x="568" y="273"/>
                    <a:pt x="562" y="279"/>
                    <a:pt x="559" y="282"/>
                  </a:cubicBezTo>
                  <a:cubicBezTo>
                    <a:pt x="556" y="285"/>
                    <a:pt x="556" y="288"/>
                    <a:pt x="556" y="291"/>
                  </a:cubicBezTo>
                  <a:cubicBezTo>
                    <a:pt x="562" y="294"/>
                    <a:pt x="568" y="300"/>
                    <a:pt x="574" y="306"/>
                  </a:cubicBezTo>
                  <a:cubicBezTo>
                    <a:pt x="574" y="315"/>
                    <a:pt x="559" y="312"/>
                    <a:pt x="559" y="312"/>
                  </a:cubicBezTo>
                  <a:cubicBezTo>
                    <a:pt x="553" y="309"/>
                    <a:pt x="547" y="306"/>
                    <a:pt x="541" y="300"/>
                  </a:cubicBezTo>
                  <a:cubicBezTo>
                    <a:pt x="532" y="300"/>
                    <a:pt x="514" y="300"/>
                    <a:pt x="511" y="303"/>
                  </a:cubicBezTo>
                  <a:cubicBezTo>
                    <a:pt x="511" y="318"/>
                    <a:pt x="511" y="330"/>
                    <a:pt x="529" y="345"/>
                  </a:cubicBezTo>
                  <a:cubicBezTo>
                    <a:pt x="529" y="351"/>
                    <a:pt x="529" y="357"/>
                    <a:pt x="529" y="363"/>
                  </a:cubicBezTo>
                  <a:cubicBezTo>
                    <a:pt x="532" y="372"/>
                    <a:pt x="535" y="381"/>
                    <a:pt x="538" y="390"/>
                  </a:cubicBezTo>
                  <a:cubicBezTo>
                    <a:pt x="538" y="399"/>
                    <a:pt x="529" y="399"/>
                    <a:pt x="520" y="399"/>
                  </a:cubicBezTo>
                  <a:cubicBezTo>
                    <a:pt x="511" y="402"/>
                    <a:pt x="511" y="402"/>
                    <a:pt x="505" y="408"/>
                  </a:cubicBezTo>
                  <a:cubicBezTo>
                    <a:pt x="502" y="408"/>
                    <a:pt x="499" y="408"/>
                    <a:pt x="499" y="408"/>
                  </a:cubicBezTo>
                  <a:cubicBezTo>
                    <a:pt x="499" y="405"/>
                    <a:pt x="496" y="402"/>
                    <a:pt x="496" y="402"/>
                  </a:cubicBezTo>
                  <a:cubicBezTo>
                    <a:pt x="490" y="402"/>
                    <a:pt x="487" y="399"/>
                    <a:pt x="481" y="399"/>
                  </a:cubicBezTo>
                  <a:cubicBezTo>
                    <a:pt x="481" y="396"/>
                    <a:pt x="478" y="393"/>
                    <a:pt x="475" y="393"/>
                  </a:cubicBezTo>
                  <a:cubicBezTo>
                    <a:pt x="472" y="393"/>
                    <a:pt x="469" y="393"/>
                    <a:pt x="467" y="393"/>
                  </a:cubicBezTo>
                  <a:cubicBezTo>
                    <a:pt x="467" y="393"/>
                    <a:pt x="458" y="399"/>
                    <a:pt x="455" y="399"/>
                  </a:cubicBezTo>
                  <a:cubicBezTo>
                    <a:pt x="455" y="396"/>
                    <a:pt x="452" y="393"/>
                    <a:pt x="452" y="393"/>
                  </a:cubicBezTo>
                  <a:cubicBezTo>
                    <a:pt x="446" y="390"/>
                    <a:pt x="443" y="390"/>
                    <a:pt x="437" y="390"/>
                  </a:cubicBezTo>
                  <a:cubicBezTo>
                    <a:pt x="431" y="381"/>
                    <a:pt x="422" y="372"/>
                    <a:pt x="416" y="366"/>
                  </a:cubicBezTo>
                  <a:cubicBezTo>
                    <a:pt x="416" y="363"/>
                    <a:pt x="413" y="360"/>
                    <a:pt x="413" y="360"/>
                  </a:cubicBezTo>
                  <a:cubicBezTo>
                    <a:pt x="413" y="342"/>
                    <a:pt x="404" y="336"/>
                    <a:pt x="395" y="327"/>
                  </a:cubicBezTo>
                  <a:cubicBezTo>
                    <a:pt x="383" y="324"/>
                    <a:pt x="371" y="324"/>
                    <a:pt x="362" y="324"/>
                  </a:cubicBezTo>
                  <a:cubicBezTo>
                    <a:pt x="344" y="327"/>
                    <a:pt x="350" y="327"/>
                    <a:pt x="347" y="345"/>
                  </a:cubicBezTo>
                  <a:cubicBezTo>
                    <a:pt x="350" y="351"/>
                    <a:pt x="356" y="357"/>
                    <a:pt x="359" y="360"/>
                  </a:cubicBezTo>
                  <a:cubicBezTo>
                    <a:pt x="359" y="366"/>
                    <a:pt x="359" y="369"/>
                    <a:pt x="359" y="372"/>
                  </a:cubicBezTo>
                  <a:cubicBezTo>
                    <a:pt x="353" y="378"/>
                    <a:pt x="338" y="387"/>
                    <a:pt x="347" y="402"/>
                  </a:cubicBezTo>
                  <a:cubicBezTo>
                    <a:pt x="347" y="408"/>
                    <a:pt x="335" y="423"/>
                    <a:pt x="329" y="429"/>
                  </a:cubicBezTo>
                  <a:cubicBezTo>
                    <a:pt x="326" y="438"/>
                    <a:pt x="320" y="438"/>
                    <a:pt x="314" y="441"/>
                  </a:cubicBezTo>
                  <a:cubicBezTo>
                    <a:pt x="314" y="444"/>
                    <a:pt x="311" y="444"/>
                    <a:pt x="311" y="447"/>
                  </a:cubicBezTo>
                  <a:cubicBezTo>
                    <a:pt x="302" y="447"/>
                    <a:pt x="302" y="441"/>
                    <a:pt x="299" y="438"/>
                  </a:cubicBezTo>
                  <a:cubicBezTo>
                    <a:pt x="293" y="435"/>
                    <a:pt x="284" y="438"/>
                    <a:pt x="281" y="438"/>
                  </a:cubicBezTo>
                  <a:cubicBezTo>
                    <a:pt x="278" y="444"/>
                    <a:pt x="278" y="447"/>
                    <a:pt x="275" y="45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209905" y="2839243"/>
              <a:ext cx="1688591" cy="1315471"/>
            </a:xfrm>
            <a:custGeom>
              <a:avLst/>
              <a:gdLst>
                <a:gd name="T0" fmla="*/ 2147483647 w 708"/>
                <a:gd name="T1" fmla="*/ 2147483647 h 608"/>
                <a:gd name="T2" fmla="*/ 2147483647 w 708"/>
                <a:gd name="T3" fmla="*/ 2147483647 h 608"/>
                <a:gd name="T4" fmla="*/ 2147483647 w 708"/>
                <a:gd name="T5" fmla="*/ 2147483647 h 608"/>
                <a:gd name="T6" fmla="*/ 2147483647 w 708"/>
                <a:gd name="T7" fmla="*/ 2147483647 h 608"/>
                <a:gd name="T8" fmla="*/ 2147483647 w 708"/>
                <a:gd name="T9" fmla="*/ 2147483647 h 608"/>
                <a:gd name="T10" fmla="*/ 2147483647 w 708"/>
                <a:gd name="T11" fmla="*/ 2147483647 h 608"/>
                <a:gd name="T12" fmla="*/ 2147483647 w 708"/>
                <a:gd name="T13" fmla="*/ 2147483647 h 608"/>
                <a:gd name="T14" fmla="*/ 2147483647 w 708"/>
                <a:gd name="T15" fmla="*/ 2147483647 h 608"/>
                <a:gd name="T16" fmla="*/ 2147483647 w 708"/>
                <a:gd name="T17" fmla="*/ 2147483647 h 608"/>
                <a:gd name="T18" fmla="*/ 2147483647 w 708"/>
                <a:gd name="T19" fmla="*/ 2147483647 h 608"/>
                <a:gd name="T20" fmla="*/ 2147483647 w 708"/>
                <a:gd name="T21" fmla="*/ 2147483647 h 608"/>
                <a:gd name="T22" fmla="*/ 2147483647 w 708"/>
                <a:gd name="T23" fmla="*/ 2147483647 h 608"/>
                <a:gd name="T24" fmla="*/ 2147483647 w 708"/>
                <a:gd name="T25" fmla="*/ 2147483647 h 608"/>
                <a:gd name="T26" fmla="*/ 2147483647 w 708"/>
                <a:gd name="T27" fmla="*/ 2147483647 h 608"/>
                <a:gd name="T28" fmla="*/ 2147483647 w 708"/>
                <a:gd name="T29" fmla="*/ 2147483647 h 608"/>
                <a:gd name="T30" fmla="*/ 2147483647 w 708"/>
                <a:gd name="T31" fmla="*/ 2147483647 h 608"/>
                <a:gd name="T32" fmla="*/ 2147483647 w 708"/>
                <a:gd name="T33" fmla="*/ 2147483647 h 608"/>
                <a:gd name="T34" fmla="*/ 2147483647 w 708"/>
                <a:gd name="T35" fmla="*/ 2147483647 h 608"/>
                <a:gd name="T36" fmla="*/ 2147483647 w 708"/>
                <a:gd name="T37" fmla="*/ 2147483647 h 608"/>
                <a:gd name="T38" fmla="*/ 2147483647 w 708"/>
                <a:gd name="T39" fmla="*/ 2145736844 h 608"/>
                <a:gd name="T40" fmla="*/ 2147483647 w 708"/>
                <a:gd name="T41" fmla="*/ 1793863521 h 608"/>
                <a:gd name="T42" fmla="*/ 2054428651 w 708"/>
                <a:gd name="T43" fmla="*/ 1814561797 h 608"/>
                <a:gd name="T44" fmla="*/ 1771772001 w 708"/>
                <a:gd name="T45" fmla="*/ 1628277311 h 608"/>
                <a:gd name="T46" fmla="*/ 1296082366 w 708"/>
                <a:gd name="T47" fmla="*/ 1504085027 h 608"/>
                <a:gd name="T48" fmla="*/ 1254717850 w 708"/>
                <a:gd name="T49" fmla="*/ 1731768692 h 608"/>
                <a:gd name="T50" fmla="*/ 779028543 w 708"/>
                <a:gd name="T51" fmla="*/ 1504085027 h 608"/>
                <a:gd name="T52" fmla="*/ 117198627 w 708"/>
                <a:gd name="T53" fmla="*/ 1338498489 h 608"/>
                <a:gd name="T54" fmla="*/ 55151833 w 708"/>
                <a:gd name="T55" fmla="*/ 1172912279 h 608"/>
                <a:gd name="T56" fmla="*/ 117198627 w 708"/>
                <a:gd name="T57" fmla="*/ 903832061 h 608"/>
                <a:gd name="T58" fmla="*/ 427429994 w 708"/>
                <a:gd name="T59" fmla="*/ 745143526 h 608"/>
                <a:gd name="T60" fmla="*/ 841075317 w 708"/>
                <a:gd name="T61" fmla="*/ 476063144 h 608"/>
                <a:gd name="T62" fmla="*/ 1089259787 w 708"/>
                <a:gd name="T63" fmla="*/ 269080300 h 608"/>
                <a:gd name="T64" fmla="*/ 1523584906 w 708"/>
                <a:gd name="T65" fmla="*/ 103491422 h 608"/>
                <a:gd name="T66" fmla="*/ 1606313938 w 708"/>
                <a:gd name="T67" fmla="*/ 413968315 h 608"/>
                <a:gd name="T68" fmla="*/ 1564949422 w 708"/>
                <a:gd name="T69" fmla="*/ 683048533 h 608"/>
                <a:gd name="T70" fmla="*/ 1730407486 w 708"/>
                <a:gd name="T71" fmla="*/ 862435509 h 608"/>
                <a:gd name="T72" fmla="*/ 1833818775 w 708"/>
                <a:gd name="T73" fmla="*/ 1007323443 h 608"/>
                <a:gd name="T74" fmla="*/ 2147483647 w 708"/>
                <a:gd name="T75" fmla="*/ 965926890 h 608"/>
                <a:gd name="T76" fmla="*/ 2095790542 w 708"/>
                <a:gd name="T77" fmla="*/ 1297101936 h 608"/>
                <a:gd name="T78" fmla="*/ 2147483647 w 708"/>
                <a:gd name="T79" fmla="*/ 1483386751 h 608"/>
                <a:gd name="T80" fmla="*/ 2147483647 w 708"/>
                <a:gd name="T81" fmla="*/ 1773165245 h 608"/>
                <a:gd name="T82" fmla="*/ 2147483647 w 708"/>
                <a:gd name="T83" fmla="*/ 1586880759 h 608"/>
                <a:gd name="T84" fmla="*/ 2147483647 w 708"/>
                <a:gd name="T85" fmla="*/ 1628277311 h 608"/>
                <a:gd name="T86" fmla="*/ 2147483647 w 708"/>
                <a:gd name="T87" fmla="*/ 1483386751 h 608"/>
                <a:gd name="T88" fmla="*/ 2147483647 w 708"/>
                <a:gd name="T89" fmla="*/ 1752466969 h 608"/>
                <a:gd name="T90" fmla="*/ 2147483647 w 708"/>
                <a:gd name="T91" fmla="*/ 2147483647 h 608"/>
                <a:gd name="T92" fmla="*/ 2147483647 w 708"/>
                <a:gd name="T93" fmla="*/ 2147483647 h 608"/>
                <a:gd name="T94" fmla="*/ 2147483647 w 708"/>
                <a:gd name="T95" fmla="*/ 2147483647 h 608"/>
                <a:gd name="T96" fmla="*/ 2147483647 w 708"/>
                <a:gd name="T97" fmla="*/ 2147483647 h 608"/>
                <a:gd name="T98" fmla="*/ 2147483647 w 708"/>
                <a:gd name="T99" fmla="*/ 2147483647 h 608"/>
                <a:gd name="T100" fmla="*/ 2147483647 w 708"/>
                <a:gd name="T101" fmla="*/ 2147483647 h 608"/>
                <a:gd name="T102" fmla="*/ 2147483647 w 708"/>
                <a:gd name="T103" fmla="*/ 2147483647 h 608"/>
                <a:gd name="T104" fmla="*/ 2147483647 w 708"/>
                <a:gd name="T105" fmla="*/ 2147483647 h 608"/>
                <a:gd name="T106" fmla="*/ 2147483647 w 708"/>
                <a:gd name="T107" fmla="*/ 2147483647 h 608"/>
                <a:gd name="T108" fmla="*/ 2147483647 w 708"/>
                <a:gd name="T109" fmla="*/ 2147483647 h 608"/>
                <a:gd name="T110" fmla="*/ 2147483647 w 708"/>
                <a:gd name="T111" fmla="*/ 2147483647 h 608"/>
                <a:gd name="T112" fmla="*/ 2147483647 w 708"/>
                <a:gd name="T113" fmla="*/ 2147483647 h 608"/>
                <a:gd name="T114" fmla="*/ 2147483647 w 708"/>
                <a:gd name="T115" fmla="*/ 2147483647 h 608"/>
                <a:gd name="T116" fmla="*/ 2147483647 w 708"/>
                <a:gd name="T117" fmla="*/ 2147483647 h 60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08"/>
                <a:gd name="T178" fmla="*/ 0 h 608"/>
                <a:gd name="T179" fmla="*/ 708 w 708"/>
                <a:gd name="T180" fmla="*/ 608 h 60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08" h="608">
                  <a:moveTo>
                    <a:pt x="657" y="476"/>
                  </a:moveTo>
                  <a:cubicBezTo>
                    <a:pt x="642" y="464"/>
                    <a:pt x="630" y="464"/>
                    <a:pt x="615" y="464"/>
                  </a:cubicBezTo>
                  <a:cubicBezTo>
                    <a:pt x="612" y="467"/>
                    <a:pt x="609" y="467"/>
                    <a:pt x="606" y="467"/>
                  </a:cubicBezTo>
                  <a:cubicBezTo>
                    <a:pt x="594" y="485"/>
                    <a:pt x="600" y="503"/>
                    <a:pt x="609" y="524"/>
                  </a:cubicBezTo>
                  <a:cubicBezTo>
                    <a:pt x="609" y="533"/>
                    <a:pt x="612" y="542"/>
                    <a:pt x="609" y="554"/>
                  </a:cubicBezTo>
                  <a:cubicBezTo>
                    <a:pt x="600" y="554"/>
                    <a:pt x="591" y="554"/>
                    <a:pt x="583" y="554"/>
                  </a:cubicBezTo>
                  <a:cubicBezTo>
                    <a:pt x="577" y="557"/>
                    <a:pt x="580" y="557"/>
                    <a:pt x="577" y="566"/>
                  </a:cubicBezTo>
                  <a:cubicBezTo>
                    <a:pt x="580" y="569"/>
                    <a:pt x="583" y="572"/>
                    <a:pt x="588" y="575"/>
                  </a:cubicBezTo>
                  <a:cubicBezTo>
                    <a:pt x="588" y="578"/>
                    <a:pt x="588" y="578"/>
                    <a:pt x="588" y="581"/>
                  </a:cubicBezTo>
                  <a:cubicBezTo>
                    <a:pt x="585" y="587"/>
                    <a:pt x="583" y="593"/>
                    <a:pt x="583" y="596"/>
                  </a:cubicBezTo>
                  <a:cubicBezTo>
                    <a:pt x="571" y="596"/>
                    <a:pt x="568" y="602"/>
                    <a:pt x="559" y="605"/>
                  </a:cubicBezTo>
                  <a:cubicBezTo>
                    <a:pt x="550" y="605"/>
                    <a:pt x="538" y="605"/>
                    <a:pt x="529" y="608"/>
                  </a:cubicBezTo>
                  <a:cubicBezTo>
                    <a:pt x="529" y="605"/>
                    <a:pt x="529" y="605"/>
                    <a:pt x="526" y="605"/>
                  </a:cubicBezTo>
                  <a:cubicBezTo>
                    <a:pt x="523" y="599"/>
                    <a:pt x="517" y="596"/>
                    <a:pt x="514" y="596"/>
                  </a:cubicBezTo>
                  <a:cubicBezTo>
                    <a:pt x="514" y="593"/>
                    <a:pt x="514" y="590"/>
                    <a:pt x="511" y="587"/>
                  </a:cubicBezTo>
                  <a:cubicBezTo>
                    <a:pt x="508" y="578"/>
                    <a:pt x="505" y="572"/>
                    <a:pt x="502" y="563"/>
                  </a:cubicBezTo>
                  <a:cubicBezTo>
                    <a:pt x="496" y="560"/>
                    <a:pt x="493" y="557"/>
                    <a:pt x="487" y="554"/>
                  </a:cubicBezTo>
                  <a:cubicBezTo>
                    <a:pt x="481" y="545"/>
                    <a:pt x="472" y="542"/>
                    <a:pt x="466" y="539"/>
                  </a:cubicBezTo>
                  <a:cubicBezTo>
                    <a:pt x="463" y="536"/>
                    <a:pt x="460" y="536"/>
                    <a:pt x="457" y="533"/>
                  </a:cubicBezTo>
                  <a:cubicBezTo>
                    <a:pt x="445" y="506"/>
                    <a:pt x="439" y="509"/>
                    <a:pt x="418" y="521"/>
                  </a:cubicBezTo>
                  <a:cubicBezTo>
                    <a:pt x="412" y="530"/>
                    <a:pt x="412" y="527"/>
                    <a:pt x="412" y="539"/>
                  </a:cubicBezTo>
                  <a:cubicBezTo>
                    <a:pt x="415" y="545"/>
                    <a:pt x="418" y="548"/>
                    <a:pt x="418" y="557"/>
                  </a:cubicBezTo>
                  <a:cubicBezTo>
                    <a:pt x="412" y="560"/>
                    <a:pt x="412" y="563"/>
                    <a:pt x="403" y="566"/>
                  </a:cubicBezTo>
                  <a:cubicBezTo>
                    <a:pt x="403" y="566"/>
                    <a:pt x="400" y="566"/>
                    <a:pt x="397" y="566"/>
                  </a:cubicBezTo>
                  <a:cubicBezTo>
                    <a:pt x="379" y="557"/>
                    <a:pt x="364" y="545"/>
                    <a:pt x="358" y="536"/>
                  </a:cubicBezTo>
                  <a:cubicBezTo>
                    <a:pt x="346" y="530"/>
                    <a:pt x="346" y="509"/>
                    <a:pt x="346" y="506"/>
                  </a:cubicBezTo>
                  <a:cubicBezTo>
                    <a:pt x="352" y="506"/>
                    <a:pt x="361" y="506"/>
                    <a:pt x="367" y="506"/>
                  </a:cubicBezTo>
                  <a:cubicBezTo>
                    <a:pt x="373" y="509"/>
                    <a:pt x="379" y="515"/>
                    <a:pt x="385" y="518"/>
                  </a:cubicBezTo>
                  <a:cubicBezTo>
                    <a:pt x="391" y="518"/>
                    <a:pt x="400" y="521"/>
                    <a:pt x="409" y="512"/>
                  </a:cubicBezTo>
                  <a:cubicBezTo>
                    <a:pt x="409" y="509"/>
                    <a:pt x="409" y="506"/>
                    <a:pt x="409" y="503"/>
                  </a:cubicBezTo>
                  <a:cubicBezTo>
                    <a:pt x="400" y="497"/>
                    <a:pt x="394" y="488"/>
                    <a:pt x="391" y="485"/>
                  </a:cubicBezTo>
                  <a:cubicBezTo>
                    <a:pt x="403" y="479"/>
                    <a:pt x="421" y="458"/>
                    <a:pt x="424" y="446"/>
                  </a:cubicBezTo>
                  <a:cubicBezTo>
                    <a:pt x="430" y="443"/>
                    <a:pt x="436" y="440"/>
                    <a:pt x="439" y="437"/>
                  </a:cubicBezTo>
                  <a:cubicBezTo>
                    <a:pt x="442" y="437"/>
                    <a:pt x="445" y="431"/>
                    <a:pt x="448" y="428"/>
                  </a:cubicBezTo>
                  <a:cubicBezTo>
                    <a:pt x="448" y="422"/>
                    <a:pt x="448" y="416"/>
                    <a:pt x="448" y="410"/>
                  </a:cubicBezTo>
                  <a:cubicBezTo>
                    <a:pt x="436" y="398"/>
                    <a:pt x="442" y="380"/>
                    <a:pt x="439" y="380"/>
                  </a:cubicBezTo>
                  <a:cubicBezTo>
                    <a:pt x="436" y="371"/>
                    <a:pt x="430" y="362"/>
                    <a:pt x="427" y="356"/>
                  </a:cubicBezTo>
                  <a:cubicBezTo>
                    <a:pt x="427" y="350"/>
                    <a:pt x="427" y="344"/>
                    <a:pt x="424" y="338"/>
                  </a:cubicBezTo>
                  <a:cubicBezTo>
                    <a:pt x="421" y="329"/>
                    <a:pt x="415" y="314"/>
                    <a:pt x="412" y="311"/>
                  </a:cubicBezTo>
                  <a:cubicBezTo>
                    <a:pt x="403" y="311"/>
                    <a:pt x="397" y="311"/>
                    <a:pt x="388" y="311"/>
                  </a:cubicBezTo>
                  <a:cubicBezTo>
                    <a:pt x="373" y="308"/>
                    <a:pt x="358" y="293"/>
                    <a:pt x="349" y="290"/>
                  </a:cubicBezTo>
                  <a:cubicBezTo>
                    <a:pt x="343" y="281"/>
                    <a:pt x="334" y="269"/>
                    <a:pt x="325" y="260"/>
                  </a:cubicBezTo>
                  <a:cubicBezTo>
                    <a:pt x="319" y="260"/>
                    <a:pt x="316" y="263"/>
                    <a:pt x="310" y="263"/>
                  </a:cubicBezTo>
                  <a:cubicBezTo>
                    <a:pt x="307" y="263"/>
                    <a:pt x="304" y="263"/>
                    <a:pt x="298" y="263"/>
                  </a:cubicBezTo>
                  <a:cubicBezTo>
                    <a:pt x="293" y="257"/>
                    <a:pt x="284" y="251"/>
                    <a:pt x="278" y="245"/>
                  </a:cubicBezTo>
                  <a:cubicBezTo>
                    <a:pt x="269" y="242"/>
                    <a:pt x="263" y="239"/>
                    <a:pt x="257" y="236"/>
                  </a:cubicBezTo>
                  <a:cubicBezTo>
                    <a:pt x="242" y="233"/>
                    <a:pt x="233" y="230"/>
                    <a:pt x="224" y="230"/>
                  </a:cubicBezTo>
                  <a:cubicBezTo>
                    <a:pt x="209" y="215"/>
                    <a:pt x="203" y="221"/>
                    <a:pt x="188" y="218"/>
                  </a:cubicBezTo>
                  <a:cubicBezTo>
                    <a:pt x="185" y="221"/>
                    <a:pt x="182" y="224"/>
                    <a:pt x="179" y="224"/>
                  </a:cubicBezTo>
                  <a:cubicBezTo>
                    <a:pt x="179" y="233"/>
                    <a:pt x="185" y="239"/>
                    <a:pt x="182" y="251"/>
                  </a:cubicBezTo>
                  <a:cubicBezTo>
                    <a:pt x="167" y="266"/>
                    <a:pt x="140" y="239"/>
                    <a:pt x="134" y="233"/>
                  </a:cubicBezTo>
                  <a:cubicBezTo>
                    <a:pt x="128" y="227"/>
                    <a:pt x="122" y="221"/>
                    <a:pt x="113" y="218"/>
                  </a:cubicBezTo>
                  <a:cubicBezTo>
                    <a:pt x="101" y="209"/>
                    <a:pt x="89" y="203"/>
                    <a:pt x="77" y="200"/>
                  </a:cubicBezTo>
                  <a:cubicBezTo>
                    <a:pt x="56" y="200"/>
                    <a:pt x="35" y="200"/>
                    <a:pt x="17" y="194"/>
                  </a:cubicBezTo>
                  <a:cubicBezTo>
                    <a:pt x="14" y="194"/>
                    <a:pt x="14" y="194"/>
                    <a:pt x="14" y="194"/>
                  </a:cubicBezTo>
                  <a:cubicBezTo>
                    <a:pt x="14" y="185"/>
                    <a:pt x="8" y="170"/>
                    <a:pt x="8" y="170"/>
                  </a:cubicBezTo>
                  <a:cubicBezTo>
                    <a:pt x="6" y="158"/>
                    <a:pt x="0" y="149"/>
                    <a:pt x="8" y="146"/>
                  </a:cubicBezTo>
                  <a:cubicBezTo>
                    <a:pt x="11" y="140"/>
                    <a:pt x="14" y="134"/>
                    <a:pt x="17" y="131"/>
                  </a:cubicBezTo>
                  <a:cubicBezTo>
                    <a:pt x="29" y="131"/>
                    <a:pt x="47" y="131"/>
                    <a:pt x="59" y="120"/>
                  </a:cubicBezTo>
                  <a:cubicBezTo>
                    <a:pt x="59" y="114"/>
                    <a:pt x="62" y="111"/>
                    <a:pt x="62" y="108"/>
                  </a:cubicBezTo>
                  <a:cubicBezTo>
                    <a:pt x="68" y="102"/>
                    <a:pt x="71" y="99"/>
                    <a:pt x="74" y="96"/>
                  </a:cubicBezTo>
                  <a:cubicBezTo>
                    <a:pt x="83" y="69"/>
                    <a:pt x="92" y="72"/>
                    <a:pt x="122" y="69"/>
                  </a:cubicBezTo>
                  <a:cubicBezTo>
                    <a:pt x="125" y="69"/>
                    <a:pt x="152" y="69"/>
                    <a:pt x="161" y="63"/>
                  </a:cubicBezTo>
                  <a:cubicBezTo>
                    <a:pt x="161" y="54"/>
                    <a:pt x="158" y="45"/>
                    <a:pt x="158" y="39"/>
                  </a:cubicBezTo>
                  <a:cubicBezTo>
                    <a:pt x="158" y="24"/>
                    <a:pt x="158" y="0"/>
                    <a:pt x="176" y="9"/>
                  </a:cubicBezTo>
                  <a:cubicBezTo>
                    <a:pt x="191" y="12"/>
                    <a:pt x="206" y="15"/>
                    <a:pt x="221" y="15"/>
                  </a:cubicBezTo>
                  <a:cubicBezTo>
                    <a:pt x="218" y="21"/>
                    <a:pt x="218" y="30"/>
                    <a:pt x="218" y="36"/>
                  </a:cubicBezTo>
                  <a:cubicBezTo>
                    <a:pt x="224" y="45"/>
                    <a:pt x="227" y="48"/>
                    <a:pt x="233" y="60"/>
                  </a:cubicBezTo>
                  <a:cubicBezTo>
                    <a:pt x="233" y="66"/>
                    <a:pt x="233" y="69"/>
                    <a:pt x="233" y="72"/>
                  </a:cubicBezTo>
                  <a:cubicBezTo>
                    <a:pt x="230" y="81"/>
                    <a:pt x="224" y="87"/>
                    <a:pt x="227" y="99"/>
                  </a:cubicBezTo>
                  <a:cubicBezTo>
                    <a:pt x="233" y="105"/>
                    <a:pt x="242" y="111"/>
                    <a:pt x="248" y="120"/>
                  </a:cubicBezTo>
                  <a:cubicBezTo>
                    <a:pt x="248" y="120"/>
                    <a:pt x="251" y="123"/>
                    <a:pt x="251" y="125"/>
                  </a:cubicBezTo>
                  <a:cubicBezTo>
                    <a:pt x="251" y="131"/>
                    <a:pt x="251" y="137"/>
                    <a:pt x="251" y="146"/>
                  </a:cubicBezTo>
                  <a:cubicBezTo>
                    <a:pt x="254" y="146"/>
                    <a:pt x="260" y="146"/>
                    <a:pt x="266" y="146"/>
                  </a:cubicBezTo>
                  <a:cubicBezTo>
                    <a:pt x="281" y="134"/>
                    <a:pt x="304" y="131"/>
                    <a:pt x="328" y="131"/>
                  </a:cubicBezTo>
                  <a:cubicBezTo>
                    <a:pt x="328" y="134"/>
                    <a:pt x="331" y="137"/>
                    <a:pt x="331" y="140"/>
                  </a:cubicBezTo>
                  <a:cubicBezTo>
                    <a:pt x="328" y="146"/>
                    <a:pt x="325" y="152"/>
                    <a:pt x="325" y="155"/>
                  </a:cubicBezTo>
                  <a:cubicBezTo>
                    <a:pt x="313" y="170"/>
                    <a:pt x="301" y="167"/>
                    <a:pt x="304" y="188"/>
                  </a:cubicBezTo>
                  <a:cubicBezTo>
                    <a:pt x="307" y="188"/>
                    <a:pt x="313" y="191"/>
                    <a:pt x="319" y="194"/>
                  </a:cubicBezTo>
                  <a:cubicBezTo>
                    <a:pt x="325" y="203"/>
                    <a:pt x="328" y="206"/>
                    <a:pt x="343" y="215"/>
                  </a:cubicBezTo>
                  <a:cubicBezTo>
                    <a:pt x="346" y="221"/>
                    <a:pt x="349" y="236"/>
                    <a:pt x="358" y="239"/>
                  </a:cubicBezTo>
                  <a:cubicBezTo>
                    <a:pt x="364" y="245"/>
                    <a:pt x="370" y="251"/>
                    <a:pt x="376" y="257"/>
                  </a:cubicBezTo>
                  <a:cubicBezTo>
                    <a:pt x="379" y="260"/>
                    <a:pt x="397" y="269"/>
                    <a:pt x="403" y="257"/>
                  </a:cubicBezTo>
                  <a:cubicBezTo>
                    <a:pt x="403" y="236"/>
                    <a:pt x="400" y="233"/>
                    <a:pt x="418" y="230"/>
                  </a:cubicBezTo>
                  <a:cubicBezTo>
                    <a:pt x="427" y="230"/>
                    <a:pt x="433" y="227"/>
                    <a:pt x="442" y="236"/>
                  </a:cubicBezTo>
                  <a:cubicBezTo>
                    <a:pt x="445" y="236"/>
                    <a:pt x="448" y="236"/>
                    <a:pt x="451" y="236"/>
                  </a:cubicBezTo>
                  <a:cubicBezTo>
                    <a:pt x="460" y="233"/>
                    <a:pt x="469" y="224"/>
                    <a:pt x="478" y="221"/>
                  </a:cubicBezTo>
                  <a:cubicBezTo>
                    <a:pt x="481" y="218"/>
                    <a:pt x="487" y="218"/>
                    <a:pt x="496" y="215"/>
                  </a:cubicBezTo>
                  <a:cubicBezTo>
                    <a:pt x="499" y="221"/>
                    <a:pt x="502" y="224"/>
                    <a:pt x="502" y="227"/>
                  </a:cubicBezTo>
                  <a:cubicBezTo>
                    <a:pt x="502" y="236"/>
                    <a:pt x="487" y="248"/>
                    <a:pt x="478" y="254"/>
                  </a:cubicBezTo>
                  <a:cubicBezTo>
                    <a:pt x="469" y="266"/>
                    <a:pt x="466" y="275"/>
                    <a:pt x="466" y="293"/>
                  </a:cubicBezTo>
                  <a:cubicBezTo>
                    <a:pt x="472" y="302"/>
                    <a:pt x="475" y="308"/>
                    <a:pt x="478" y="317"/>
                  </a:cubicBezTo>
                  <a:cubicBezTo>
                    <a:pt x="484" y="323"/>
                    <a:pt x="493" y="335"/>
                    <a:pt x="508" y="335"/>
                  </a:cubicBezTo>
                  <a:cubicBezTo>
                    <a:pt x="508" y="332"/>
                    <a:pt x="508" y="332"/>
                    <a:pt x="508" y="332"/>
                  </a:cubicBezTo>
                  <a:cubicBezTo>
                    <a:pt x="511" y="332"/>
                    <a:pt x="514" y="332"/>
                    <a:pt x="514" y="332"/>
                  </a:cubicBezTo>
                  <a:cubicBezTo>
                    <a:pt x="523" y="335"/>
                    <a:pt x="544" y="356"/>
                    <a:pt x="553" y="368"/>
                  </a:cubicBezTo>
                  <a:cubicBezTo>
                    <a:pt x="553" y="380"/>
                    <a:pt x="556" y="395"/>
                    <a:pt x="559" y="410"/>
                  </a:cubicBezTo>
                  <a:cubicBezTo>
                    <a:pt x="559" y="416"/>
                    <a:pt x="559" y="422"/>
                    <a:pt x="562" y="425"/>
                  </a:cubicBezTo>
                  <a:cubicBezTo>
                    <a:pt x="571" y="437"/>
                    <a:pt x="571" y="434"/>
                    <a:pt x="588" y="449"/>
                  </a:cubicBezTo>
                  <a:cubicBezTo>
                    <a:pt x="588" y="449"/>
                    <a:pt x="600" y="443"/>
                    <a:pt x="609" y="440"/>
                  </a:cubicBezTo>
                  <a:cubicBezTo>
                    <a:pt x="609" y="434"/>
                    <a:pt x="612" y="431"/>
                    <a:pt x="624" y="428"/>
                  </a:cubicBezTo>
                  <a:cubicBezTo>
                    <a:pt x="636" y="416"/>
                    <a:pt x="630" y="404"/>
                    <a:pt x="621" y="395"/>
                  </a:cubicBezTo>
                  <a:cubicBezTo>
                    <a:pt x="606" y="392"/>
                    <a:pt x="606" y="389"/>
                    <a:pt x="609" y="377"/>
                  </a:cubicBezTo>
                  <a:cubicBezTo>
                    <a:pt x="612" y="371"/>
                    <a:pt x="615" y="368"/>
                    <a:pt x="618" y="362"/>
                  </a:cubicBezTo>
                  <a:cubicBezTo>
                    <a:pt x="618" y="359"/>
                    <a:pt x="618" y="353"/>
                    <a:pt x="618" y="347"/>
                  </a:cubicBezTo>
                  <a:cubicBezTo>
                    <a:pt x="621" y="344"/>
                    <a:pt x="627" y="347"/>
                    <a:pt x="630" y="344"/>
                  </a:cubicBezTo>
                  <a:cubicBezTo>
                    <a:pt x="636" y="341"/>
                    <a:pt x="639" y="338"/>
                    <a:pt x="642" y="335"/>
                  </a:cubicBezTo>
                  <a:cubicBezTo>
                    <a:pt x="642" y="338"/>
                    <a:pt x="645" y="344"/>
                    <a:pt x="639" y="350"/>
                  </a:cubicBezTo>
                  <a:cubicBezTo>
                    <a:pt x="639" y="353"/>
                    <a:pt x="639" y="356"/>
                    <a:pt x="639" y="362"/>
                  </a:cubicBezTo>
                  <a:cubicBezTo>
                    <a:pt x="645" y="368"/>
                    <a:pt x="660" y="371"/>
                    <a:pt x="672" y="374"/>
                  </a:cubicBezTo>
                  <a:cubicBezTo>
                    <a:pt x="681" y="380"/>
                    <a:pt x="690" y="386"/>
                    <a:pt x="699" y="392"/>
                  </a:cubicBezTo>
                  <a:cubicBezTo>
                    <a:pt x="702" y="392"/>
                    <a:pt x="705" y="392"/>
                    <a:pt x="708" y="392"/>
                  </a:cubicBezTo>
                  <a:cubicBezTo>
                    <a:pt x="705" y="395"/>
                    <a:pt x="702" y="401"/>
                    <a:pt x="699" y="407"/>
                  </a:cubicBezTo>
                  <a:cubicBezTo>
                    <a:pt x="702" y="416"/>
                    <a:pt x="702" y="425"/>
                    <a:pt x="702" y="437"/>
                  </a:cubicBezTo>
                  <a:cubicBezTo>
                    <a:pt x="702" y="440"/>
                    <a:pt x="699" y="446"/>
                    <a:pt x="699" y="452"/>
                  </a:cubicBezTo>
                  <a:cubicBezTo>
                    <a:pt x="696" y="452"/>
                    <a:pt x="693" y="452"/>
                    <a:pt x="690" y="449"/>
                  </a:cubicBezTo>
                  <a:cubicBezTo>
                    <a:pt x="678" y="446"/>
                    <a:pt x="669" y="446"/>
                    <a:pt x="663" y="455"/>
                  </a:cubicBezTo>
                  <a:cubicBezTo>
                    <a:pt x="663" y="461"/>
                    <a:pt x="663" y="467"/>
                    <a:pt x="663" y="476"/>
                  </a:cubicBezTo>
                  <a:cubicBezTo>
                    <a:pt x="660" y="476"/>
                    <a:pt x="660" y="476"/>
                    <a:pt x="657" y="476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2" name="Freeform 17"/>
            <p:cNvSpPr>
              <a:spLocks/>
            </p:cNvSpPr>
            <p:nvPr/>
          </p:nvSpPr>
          <p:spPr bwMode="auto">
            <a:xfrm>
              <a:off x="6601443" y="3285144"/>
              <a:ext cx="584014" cy="961105"/>
            </a:xfrm>
            <a:custGeom>
              <a:avLst/>
              <a:gdLst>
                <a:gd name="T0" fmla="*/ 1170724528 w 245"/>
                <a:gd name="T1" fmla="*/ 2147483647 h 444"/>
                <a:gd name="T2" fmla="*/ 943468308 w 245"/>
                <a:gd name="T3" fmla="*/ 2147483647 h 444"/>
                <a:gd name="T4" fmla="*/ 860828490 w 245"/>
                <a:gd name="T5" fmla="*/ 2147483647 h 444"/>
                <a:gd name="T6" fmla="*/ 612908870 w 245"/>
                <a:gd name="T7" fmla="*/ 2147483647 h 444"/>
                <a:gd name="T8" fmla="*/ 509611066 w 245"/>
                <a:gd name="T9" fmla="*/ 2147483647 h 444"/>
                <a:gd name="T10" fmla="*/ 323670736 w 245"/>
                <a:gd name="T11" fmla="*/ 2147483647 h 444"/>
                <a:gd name="T12" fmla="*/ 179051710 w 245"/>
                <a:gd name="T13" fmla="*/ 2147483647 h 444"/>
                <a:gd name="T14" fmla="*/ 34432612 w 245"/>
                <a:gd name="T15" fmla="*/ 2147483647 h 444"/>
                <a:gd name="T16" fmla="*/ 55093233 w 245"/>
                <a:gd name="T17" fmla="*/ 2147483647 h 444"/>
                <a:gd name="T18" fmla="*/ 13771996 w 245"/>
                <a:gd name="T19" fmla="*/ 2147483647 h 444"/>
                <a:gd name="T20" fmla="*/ 0 w 245"/>
                <a:gd name="T21" fmla="*/ 2147483647 h 444"/>
                <a:gd name="T22" fmla="*/ 199712320 w 245"/>
                <a:gd name="T23" fmla="*/ 2147483647 h 444"/>
                <a:gd name="T24" fmla="*/ 220372931 w 245"/>
                <a:gd name="T25" fmla="*/ 2147483647 h 444"/>
                <a:gd name="T26" fmla="*/ 179051710 w 245"/>
                <a:gd name="T27" fmla="*/ 2071847386 h 444"/>
                <a:gd name="T28" fmla="*/ 364992039 w 245"/>
                <a:gd name="T29" fmla="*/ 1823226935 h 444"/>
                <a:gd name="T30" fmla="*/ 509611066 w 245"/>
                <a:gd name="T31" fmla="*/ 1906099543 h 444"/>
                <a:gd name="T32" fmla="*/ 592248260 w 245"/>
                <a:gd name="T33" fmla="*/ 1885380734 h 444"/>
                <a:gd name="T34" fmla="*/ 592248260 w 245"/>
                <a:gd name="T35" fmla="*/ 1740351699 h 444"/>
                <a:gd name="T36" fmla="*/ 736867450 w 245"/>
                <a:gd name="T37" fmla="*/ 1719632890 h 444"/>
                <a:gd name="T38" fmla="*/ 819507268 w 245"/>
                <a:gd name="T39" fmla="*/ 1719632890 h 444"/>
                <a:gd name="T40" fmla="*/ 840167879 w 245"/>
                <a:gd name="T41" fmla="*/ 1429574821 h 444"/>
                <a:gd name="T42" fmla="*/ 881486476 w 245"/>
                <a:gd name="T43" fmla="*/ 1325983076 h 444"/>
                <a:gd name="T44" fmla="*/ 881486476 w 245"/>
                <a:gd name="T45" fmla="*/ 1263826649 h 444"/>
                <a:gd name="T46" fmla="*/ 819507268 w 245"/>
                <a:gd name="T47" fmla="*/ 1243107840 h 444"/>
                <a:gd name="T48" fmla="*/ 654230092 w 245"/>
                <a:gd name="T49" fmla="*/ 1118797615 h 444"/>
                <a:gd name="T50" fmla="*/ 426971247 w 245"/>
                <a:gd name="T51" fmla="*/ 1056643816 h 444"/>
                <a:gd name="T52" fmla="*/ 468289844 w 245"/>
                <a:gd name="T53" fmla="*/ 973768580 h 444"/>
                <a:gd name="T54" fmla="*/ 447629234 w 245"/>
                <a:gd name="T55" fmla="*/ 849458355 h 444"/>
                <a:gd name="T56" fmla="*/ 509611066 w 245"/>
                <a:gd name="T57" fmla="*/ 766583119 h 444"/>
                <a:gd name="T58" fmla="*/ 633569481 w 245"/>
                <a:gd name="T59" fmla="*/ 787301928 h 444"/>
                <a:gd name="T60" fmla="*/ 902147087 w 245"/>
                <a:gd name="T61" fmla="*/ 787301928 h 444"/>
                <a:gd name="T62" fmla="*/ 943468308 w 245"/>
                <a:gd name="T63" fmla="*/ 497243695 h 444"/>
                <a:gd name="T64" fmla="*/ 1046766113 w 245"/>
                <a:gd name="T65" fmla="*/ 352214660 h 444"/>
                <a:gd name="T66" fmla="*/ 1150066542 w 245"/>
                <a:gd name="T67" fmla="*/ 207185543 h 444"/>
                <a:gd name="T68" fmla="*/ 1253364347 w 245"/>
                <a:gd name="T69" fmla="*/ 124310267 h 444"/>
                <a:gd name="T70" fmla="*/ 1315343555 w 245"/>
                <a:gd name="T71" fmla="*/ 41437628 h 444"/>
                <a:gd name="T72" fmla="*/ 1377323090 w 245"/>
                <a:gd name="T73" fmla="*/ 82872628 h 444"/>
                <a:gd name="T74" fmla="*/ 1397983701 w 245"/>
                <a:gd name="T75" fmla="*/ 82872628 h 444"/>
                <a:gd name="T76" fmla="*/ 1480623520 w 245"/>
                <a:gd name="T77" fmla="*/ 0 h 444"/>
                <a:gd name="T78" fmla="*/ 1583921324 w 245"/>
                <a:gd name="T79" fmla="*/ 103591458 h 444"/>
                <a:gd name="T80" fmla="*/ 1542602727 w 245"/>
                <a:gd name="T81" fmla="*/ 165747885 h 444"/>
                <a:gd name="T82" fmla="*/ 1459962909 w 245"/>
                <a:gd name="T83" fmla="*/ 435087268 h 444"/>
                <a:gd name="T84" fmla="*/ 1480623520 w 245"/>
                <a:gd name="T85" fmla="*/ 787301928 h 444"/>
                <a:gd name="T86" fmla="*/ 1377323090 w 245"/>
                <a:gd name="T87" fmla="*/ 1035925007 h 444"/>
                <a:gd name="T88" fmla="*/ 1377323090 w 245"/>
                <a:gd name="T89" fmla="*/ 1325983076 h 444"/>
                <a:gd name="T90" fmla="*/ 1439304922 w 245"/>
                <a:gd name="T91" fmla="*/ 1553885047 h 444"/>
                <a:gd name="T92" fmla="*/ 1418644312 w 245"/>
                <a:gd name="T93" fmla="*/ 1843945744 h 444"/>
                <a:gd name="T94" fmla="*/ 1480623520 w 245"/>
                <a:gd name="T95" fmla="*/ 1947537160 h 444"/>
                <a:gd name="T96" fmla="*/ 1480623520 w 245"/>
                <a:gd name="T97" fmla="*/ 2071847386 h 444"/>
                <a:gd name="T98" fmla="*/ 1563263338 w 245"/>
                <a:gd name="T99" fmla="*/ 2147483647 h 444"/>
                <a:gd name="T100" fmla="*/ 1687221753 w 245"/>
                <a:gd name="T101" fmla="*/ 2147483647 h 444"/>
                <a:gd name="T102" fmla="*/ 1583921324 w 245"/>
                <a:gd name="T103" fmla="*/ 2147483647 h 444"/>
                <a:gd name="T104" fmla="*/ 1212045750 w 245"/>
                <a:gd name="T105" fmla="*/ 2147483647 h 444"/>
                <a:gd name="T106" fmla="*/ 1212045750 w 245"/>
                <a:gd name="T107" fmla="*/ 2147483647 h 444"/>
                <a:gd name="T108" fmla="*/ 1356664776 w 245"/>
                <a:gd name="T109" fmla="*/ 2147483647 h 444"/>
                <a:gd name="T110" fmla="*/ 1356664776 w 245"/>
                <a:gd name="T111" fmla="*/ 2147483647 h 444"/>
                <a:gd name="T112" fmla="*/ 1191385139 w 245"/>
                <a:gd name="T113" fmla="*/ 2147483647 h 444"/>
                <a:gd name="T114" fmla="*/ 1191385139 w 245"/>
                <a:gd name="T115" fmla="*/ 2147483647 h 444"/>
                <a:gd name="T116" fmla="*/ 1170724528 w 245"/>
                <a:gd name="T117" fmla="*/ 2147483647 h 44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45"/>
                <a:gd name="T178" fmla="*/ 0 h 444"/>
                <a:gd name="T179" fmla="*/ 245 w 245"/>
                <a:gd name="T180" fmla="*/ 444 h 44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45" h="444">
                  <a:moveTo>
                    <a:pt x="170" y="444"/>
                  </a:moveTo>
                  <a:cubicBezTo>
                    <a:pt x="152" y="438"/>
                    <a:pt x="149" y="429"/>
                    <a:pt x="137" y="420"/>
                  </a:cubicBezTo>
                  <a:cubicBezTo>
                    <a:pt x="134" y="420"/>
                    <a:pt x="131" y="417"/>
                    <a:pt x="125" y="417"/>
                  </a:cubicBezTo>
                  <a:cubicBezTo>
                    <a:pt x="113" y="417"/>
                    <a:pt x="98" y="417"/>
                    <a:pt x="89" y="423"/>
                  </a:cubicBezTo>
                  <a:cubicBezTo>
                    <a:pt x="83" y="423"/>
                    <a:pt x="74" y="414"/>
                    <a:pt x="74" y="411"/>
                  </a:cubicBezTo>
                  <a:cubicBezTo>
                    <a:pt x="56" y="411"/>
                    <a:pt x="53" y="402"/>
                    <a:pt x="47" y="399"/>
                  </a:cubicBezTo>
                  <a:cubicBezTo>
                    <a:pt x="41" y="399"/>
                    <a:pt x="35" y="399"/>
                    <a:pt x="26" y="399"/>
                  </a:cubicBezTo>
                  <a:cubicBezTo>
                    <a:pt x="20" y="396"/>
                    <a:pt x="11" y="393"/>
                    <a:pt x="5" y="393"/>
                  </a:cubicBezTo>
                  <a:cubicBezTo>
                    <a:pt x="5" y="384"/>
                    <a:pt x="8" y="384"/>
                    <a:pt x="8" y="378"/>
                  </a:cubicBezTo>
                  <a:cubicBezTo>
                    <a:pt x="8" y="366"/>
                    <a:pt x="8" y="363"/>
                    <a:pt x="2" y="363"/>
                  </a:cubicBezTo>
                  <a:cubicBezTo>
                    <a:pt x="0" y="357"/>
                    <a:pt x="0" y="354"/>
                    <a:pt x="0" y="351"/>
                  </a:cubicBezTo>
                  <a:cubicBezTo>
                    <a:pt x="8" y="351"/>
                    <a:pt x="17" y="351"/>
                    <a:pt x="29" y="351"/>
                  </a:cubicBezTo>
                  <a:cubicBezTo>
                    <a:pt x="35" y="339"/>
                    <a:pt x="32" y="327"/>
                    <a:pt x="32" y="315"/>
                  </a:cubicBezTo>
                  <a:cubicBezTo>
                    <a:pt x="29" y="309"/>
                    <a:pt x="26" y="306"/>
                    <a:pt x="26" y="300"/>
                  </a:cubicBezTo>
                  <a:cubicBezTo>
                    <a:pt x="20" y="267"/>
                    <a:pt x="20" y="264"/>
                    <a:pt x="53" y="264"/>
                  </a:cubicBezTo>
                  <a:cubicBezTo>
                    <a:pt x="59" y="267"/>
                    <a:pt x="68" y="270"/>
                    <a:pt x="74" y="276"/>
                  </a:cubicBezTo>
                  <a:cubicBezTo>
                    <a:pt x="77" y="276"/>
                    <a:pt x="83" y="276"/>
                    <a:pt x="86" y="273"/>
                  </a:cubicBezTo>
                  <a:cubicBezTo>
                    <a:pt x="86" y="264"/>
                    <a:pt x="86" y="258"/>
                    <a:pt x="86" y="252"/>
                  </a:cubicBezTo>
                  <a:cubicBezTo>
                    <a:pt x="86" y="246"/>
                    <a:pt x="101" y="243"/>
                    <a:pt x="107" y="249"/>
                  </a:cubicBezTo>
                  <a:cubicBezTo>
                    <a:pt x="110" y="249"/>
                    <a:pt x="116" y="249"/>
                    <a:pt x="119" y="249"/>
                  </a:cubicBezTo>
                  <a:cubicBezTo>
                    <a:pt x="125" y="237"/>
                    <a:pt x="125" y="216"/>
                    <a:pt x="122" y="207"/>
                  </a:cubicBezTo>
                  <a:cubicBezTo>
                    <a:pt x="122" y="198"/>
                    <a:pt x="125" y="198"/>
                    <a:pt x="128" y="192"/>
                  </a:cubicBezTo>
                  <a:cubicBezTo>
                    <a:pt x="128" y="189"/>
                    <a:pt x="128" y="186"/>
                    <a:pt x="128" y="183"/>
                  </a:cubicBezTo>
                  <a:cubicBezTo>
                    <a:pt x="125" y="180"/>
                    <a:pt x="122" y="180"/>
                    <a:pt x="119" y="180"/>
                  </a:cubicBezTo>
                  <a:cubicBezTo>
                    <a:pt x="110" y="174"/>
                    <a:pt x="98" y="168"/>
                    <a:pt x="95" y="162"/>
                  </a:cubicBezTo>
                  <a:cubicBezTo>
                    <a:pt x="83" y="162"/>
                    <a:pt x="68" y="156"/>
                    <a:pt x="62" y="153"/>
                  </a:cubicBezTo>
                  <a:cubicBezTo>
                    <a:pt x="62" y="144"/>
                    <a:pt x="65" y="144"/>
                    <a:pt x="68" y="141"/>
                  </a:cubicBezTo>
                  <a:cubicBezTo>
                    <a:pt x="65" y="132"/>
                    <a:pt x="65" y="126"/>
                    <a:pt x="65" y="123"/>
                  </a:cubicBezTo>
                  <a:cubicBezTo>
                    <a:pt x="68" y="123"/>
                    <a:pt x="71" y="114"/>
                    <a:pt x="74" y="111"/>
                  </a:cubicBezTo>
                  <a:cubicBezTo>
                    <a:pt x="77" y="111"/>
                    <a:pt x="83" y="108"/>
                    <a:pt x="92" y="114"/>
                  </a:cubicBezTo>
                  <a:cubicBezTo>
                    <a:pt x="104" y="114"/>
                    <a:pt x="116" y="114"/>
                    <a:pt x="131" y="114"/>
                  </a:cubicBezTo>
                  <a:cubicBezTo>
                    <a:pt x="143" y="102"/>
                    <a:pt x="137" y="81"/>
                    <a:pt x="137" y="72"/>
                  </a:cubicBezTo>
                  <a:cubicBezTo>
                    <a:pt x="137" y="60"/>
                    <a:pt x="146" y="60"/>
                    <a:pt x="152" y="51"/>
                  </a:cubicBezTo>
                  <a:cubicBezTo>
                    <a:pt x="155" y="45"/>
                    <a:pt x="161" y="36"/>
                    <a:pt x="167" y="30"/>
                  </a:cubicBezTo>
                  <a:cubicBezTo>
                    <a:pt x="170" y="27"/>
                    <a:pt x="176" y="21"/>
                    <a:pt x="182" y="18"/>
                  </a:cubicBezTo>
                  <a:cubicBezTo>
                    <a:pt x="185" y="15"/>
                    <a:pt x="188" y="9"/>
                    <a:pt x="191" y="6"/>
                  </a:cubicBezTo>
                  <a:cubicBezTo>
                    <a:pt x="194" y="9"/>
                    <a:pt x="197" y="9"/>
                    <a:pt x="200" y="12"/>
                  </a:cubicBezTo>
                  <a:cubicBezTo>
                    <a:pt x="203" y="12"/>
                    <a:pt x="203" y="12"/>
                    <a:pt x="203" y="12"/>
                  </a:cubicBezTo>
                  <a:cubicBezTo>
                    <a:pt x="209" y="9"/>
                    <a:pt x="212" y="3"/>
                    <a:pt x="215" y="0"/>
                  </a:cubicBezTo>
                  <a:cubicBezTo>
                    <a:pt x="218" y="0"/>
                    <a:pt x="230" y="0"/>
                    <a:pt x="230" y="15"/>
                  </a:cubicBezTo>
                  <a:cubicBezTo>
                    <a:pt x="230" y="18"/>
                    <a:pt x="227" y="21"/>
                    <a:pt x="224" y="24"/>
                  </a:cubicBezTo>
                  <a:cubicBezTo>
                    <a:pt x="224" y="39"/>
                    <a:pt x="224" y="51"/>
                    <a:pt x="212" y="63"/>
                  </a:cubicBezTo>
                  <a:cubicBezTo>
                    <a:pt x="206" y="78"/>
                    <a:pt x="212" y="96"/>
                    <a:pt x="215" y="114"/>
                  </a:cubicBezTo>
                  <a:cubicBezTo>
                    <a:pt x="215" y="126"/>
                    <a:pt x="206" y="141"/>
                    <a:pt x="200" y="150"/>
                  </a:cubicBezTo>
                  <a:cubicBezTo>
                    <a:pt x="200" y="162"/>
                    <a:pt x="200" y="177"/>
                    <a:pt x="200" y="192"/>
                  </a:cubicBezTo>
                  <a:cubicBezTo>
                    <a:pt x="203" y="198"/>
                    <a:pt x="209" y="213"/>
                    <a:pt x="209" y="225"/>
                  </a:cubicBezTo>
                  <a:cubicBezTo>
                    <a:pt x="203" y="240"/>
                    <a:pt x="200" y="252"/>
                    <a:pt x="206" y="267"/>
                  </a:cubicBezTo>
                  <a:cubicBezTo>
                    <a:pt x="209" y="273"/>
                    <a:pt x="212" y="273"/>
                    <a:pt x="215" y="282"/>
                  </a:cubicBezTo>
                  <a:cubicBezTo>
                    <a:pt x="215" y="288"/>
                    <a:pt x="215" y="294"/>
                    <a:pt x="215" y="300"/>
                  </a:cubicBezTo>
                  <a:cubicBezTo>
                    <a:pt x="218" y="309"/>
                    <a:pt x="224" y="318"/>
                    <a:pt x="227" y="330"/>
                  </a:cubicBezTo>
                  <a:cubicBezTo>
                    <a:pt x="233" y="339"/>
                    <a:pt x="242" y="348"/>
                    <a:pt x="245" y="366"/>
                  </a:cubicBezTo>
                  <a:cubicBezTo>
                    <a:pt x="239" y="363"/>
                    <a:pt x="236" y="363"/>
                    <a:pt x="230" y="363"/>
                  </a:cubicBezTo>
                  <a:cubicBezTo>
                    <a:pt x="218" y="363"/>
                    <a:pt x="182" y="360"/>
                    <a:pt x="176" y="366"/>
                  </a:cubicBezTo>
                  <a:cubicBezTo>
                    <a:pt x="176" y="366"/>
                    <a:pt x="176" y="369"/>
                    <a:pt x="176" y="372"/>
                  </a:cubicBezTo>
                  <a:cubicBezTo>
                    <a:pt x="182" y="375"/>
                    <a:pt x="188" y="381"/>
                    <a:pt x="197" y="387"/>
                  </a:cubicBezTo>
                  <a:cubicBezTo>
                    <a:pt x="197" y="390"/>
                    <a:pt x="197" y="393"/>
                    <a:pt x="197" y="396"/>
                  </a:cubicBezTo>
                  <a:cubicBezTo>
                    <a:pt x="185" y="399"/>
                    <a:pt x="182" y="405"/>
                    <a:pt x="173" y="414"/>
                  </a:cubicBezTo>
                  <a:cubicBezTo>
                    <a:pt x="173" y="423"/>
                    <a:pt x="173" y="432"/>
                    <a:pt x="173" y="444"/>
                  </a:cubicBezTo>
                  <a:cubicBezTo>
                    <a:pt x="173" y="444"/>
                    <a:pt x="173" y="444"/>
                    <a:pt x="170" y="444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3" name="Freeform 18"/>
            <p:cNvSpPr>
              <a:spLocks/>
            </p:cNvSpPr>
            <p:nvPr/>
          </p:nvSpPr>
          <p:spPr bwMode="auto">
            <a:xfrm>
              <a:off x="6437053" y="3317834"/>
              <a:ext cx="325893" cy="486437"/>
            </a:xfrm>
            <a:custGeom>
              <a:avLst/>
              <a:gdLst>
                <a:gd name="T0" fmla="*/ 370336981 w 137"/>
                <a:gd name="T1" fmla="*/ 1405330798 h 225"/>
                <a:gd name="T2" fmla="*/ 329187782 w 137"/>
                <a:gd name="T3" fmla="*/ 1301997371 h 225"/>
                <a:gd name="T4" fmla="*/ 288038665 w 137"/>
                <a:gd name="T5" fmla="*/ 991998075 h 225"/>
                <a:gd name="T6" fmla="*/ 82298255 w 137"/>
                <a:gd name="T7" fmla="*/ 764665258 h 225"/>
                <a:gd name="T8" fmla="*/ 0 w 137"/>
                <a:gd name="T9" fmla="*/ 723332019 h 225"/>
                <a:gd name="T10" fmla="*/ 226316299 w 137"/>
                <a:gd name="T11" fmla="*/ 661331995 h 225"/>
                <a:gd name="T12" fmla="*/ 390910231 w 137"/>
                <a:gd name="T13" fmla="*/ 578665516 h 225"/>
                <a:gd name="T14" fmla="*/ 452635216 w 137"/>
                <a:gd name="T15" fmla="*/ 516665657 h 225"/>
                <a:gd name="T16" fmla="*/ 432059348 w 137"/>
                <a:gd name="T17" fmla="*/ 371999319 h 225"/>
                <a:gd name="T18" fmla="*/ 528072209 w 137"/>
                <a:gd name="T19" fmla="*/ 185999660 h 225"/>
                <a:gd name="T20" fmla="*/ 548648077 w 137"/>
                <a:gd name="T21" fmla="*/ 82666499 h 225"/>
                <a:gd name="T22" fmla="*/ 754388589 w 137"/>
                <a:gd name="T23" fmla="*/ 61999880 h 225"/>
                <a:gd name="T24" fmla="*/ 774964457 w 137"/>
                <a:gd name="T25" fmla="*/ 123999759 h 225"/>
                <a:gd name="T26" fmla="*/ 713242091 w 137"/>
                <a:gd name="T27" fmla="*/ 247999519 h 225"/>
                <a:gd name="T28" fmla="*/ 651519561 w 137"/>
                <a:gd name="T29" fmla="*/ 495999037 h 225"/>
                <a:gd name="T30" fmla="*/ 795537707 w 137"/>
                <a:gd name="T31" fmla="*/ 516665657 h 225"/>
                <a:gd name="T32" fmla="*/ 939558307 w 137"/>
                <a:gd name="T33" fmla="*/ 619998756 h 225"/>
                <a:gd name="T34" fmla="*/ 877835941 w 137"/>
                <a:gd name="T35" fmla="*/ 723332019 h 225"/>
                <a:gd name="T36" fmla="*/ 774964457 w 137"/>
                <a:gd name="T37" fmla="*/ 826665117 h 225"/>
                <a:gd name="T38" fmla="*/ 672092810 w 137"/>
                <a:gd name="T39" fmla="*/ 971331455 h 225"/>
                <a:gd name="T40" fmla="*/ 610370443 w 137"/>
                <a:gd name="T41" fmla="*/ 1177997653 h 225"/>
                <a:gd name="T42" fmla="*/ 651519561 w 137"/>
                <a:gd name="T43" fmla="*/ 1219330892 h 225"/>
                <a:gd name="T44" fmla="*/ 754388589 w 137"/>
                <a:gd name="T45" fmla="*/ 1343330610 h 225"/>
                <a:gd name="T46" fmla="*/ 733815340 w 137"/>
                <a:gd name="T47" fmla="*/ 1405330798 h 225"/>
                <a:gd name="T48" fmla="*/ 630943693 w 137"/>
                <a:gd name="T49" fmla="*/ 1446664037 h 225"/>
                <a:gd name="T50" fmla="*/ 370336981 w 137"/>
                <a:gd name="T51" fmla="*/ 1405330798 h 22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7"/>
                <a:gd name="T79" fmla="*/ 0 h 225"/>
                <a:gd name="T80" fmla="*/ 137 w 137"/>
                <a:gd name="T81" fmla="*/ 225 h 22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7" h="225">
                  <a:moveTo>
                    <a:pt x="54" y="204"/>
                  </a:moveTo>
                  <a:cubicBezTo>
                    <a:pt x="51" y="198"/>
                    <a:pt x="51" y="192"/>
                    <a:pt x="48" y="189"/>
                  </a:cubicBezTo>
                  <a:cubicBezTo>
                    <a:pt x="48" y="171"/>
                    <a:pt x="45" y="156"/>
                    <a:pt x="42" y="144"/>
                  </a:cubicBezTo>
                  <a:cubicBezTo>
                    <a:pt x="33" y="129"/>
                    <a:pt x="18" y="120"/>
                    <a:pt x="12" y="111"/>
                  </a:cubicBezTo>
                  <a:cubicBezTo>
                    <a:pt x="9" y="108"/>
                    <a:pt x="3" y="108"/>
                    <a:pt x="0" y="105"/>
                  </a:cubicBezTo>
                  <a:cubicBezTo>
                    <a:pt x="3" y="99"/>
                    <a:pt x="24" y="96"/>
                    <a:pt x="33" y="96"/>
                  </a:cubicBezTo>
                  <a:cubicBezTo>
                    <a:pt x="42" y="87"/>
                    <a:pt x="39" y="87"/>
                    <a:pt x="57" y="84"/>
                  </a:cubicBezTo>
                  <a:cubicBezTo>
                    <a:pt x="60" y="81"/>
                    <a:pt x="63" y="78"/>
                    <a:pt x="66" y="75"/>
                  </a:cubicBezTo>
                  <a:cubicBezTo>
                    <a:pt x="63" y="66"/>
                    <a:pt x="63" y="60"/>
                    <a:pt x="63" y="54"/>
                  </a:cubicBezTo>
                  <a:cubicBezTo>
                    <a:pt x="69" y="45"/>
                    <a:pt x="74" y="36"/>
                    <a:pt x="77" y="27"/>
                  </a:cubicBezTo>
                  <a:cubicBezTo>
                    <a:pt x="80" y="21"/>
                    <a:pt x="80" y="15"/>
                    <a:pt x="80" y="12"/>
                  </a:cubicBezTo>
                  <a:cubicBezTo>
                    <a:pt x="89" y="12"/>
                    <a:pt x="98" y="0"/>
                    <a:pt x="110" y="9"/>
                  </a:cubicBezTo>
                  <a:cubicBezTo>
                    <a:pt x="110" y="12"/>
                    <a:pt x="110" y="15"/>
                    <a:pt x="113" y="18"/>
                  </a:cubicBezTo>
                  <a:cubicBezTo>
                    <a:pt x="110" y="24"/>
                    <a:pt x="107" y="27"/>
                    <a:pt x="104" y="36"/>
                  </a:cubicBezTo>
                  <a:cubicBezTo>
                    <a:pt x="95" y="48"/>
                    <a:pt x="95" y="51"/>
                    <a:pt x="95" y="72"/>
                  </a:cubicBezTo>
                  <a:cubicBezTo>
                    <a:pt x="104" y="72"/>
                    <a:pt x="110" y="72"/>
                    <a:pt x="116" y="75"/>
                  </a:cubicBezTo>
                  <a:cubicBezTo>
                    <a:pt x="119" y="78"/>
                    <a:pt x="125" y="87"/>
                    <a:pt x="137" y="90"/>
                  </a:cubicBezTo>
                  <a:cubicBezTo>
                    <a:pt x="137" y="96"/>
                    <a:pt x="134" y="99"/>
                    <a:pt x="128" y="105"/>
                  </a:cubicBezTo>
                  <a:cubicBezTo>
                    <a:pt x="125" y="111"/>
                    <a:pt x="119" y="114"/>
                    <a:pt x="113" y="120"/>
                  </a:cubicBezTo>
                  <a:cubicBezTo>
                    <a:pt x="92" y="120"/>
                    <a:pt x="104" y="123"/>
                    <a:pt x="98" y="141"/>
                  </a:cubicBezTo>
                  <a:cubicBezTo>
                    <a:pt x="89" y="153"/>
                    <a:pt x="89" y="150"/>
                    <a:pt x="89" y="171"/>
                  </a:cubicBezTo>
                  <a:cubicBezTo>
                    <a:pt x="92" y="174"/>
                    <a:pt x="92" y="177"/>
                    <a:pt x="95" y="177"/>
                  </a:cubicBezTo>
                  <a:cubicBezTo>
                    <a:pt x="101" y="180"/>
                    <a:pt x="113" y="183"/>
                    <a:pt x="110" y="195"/>
                  </a:cubicBezTo>
                  <a:cubicBezTo>
                    <a:pt x="110" y="198"/>
                    <a:pt x="107" y="201"/>
                    <a:pt x="107" y="204"/>
                  </a:cubicBezTo>
                  <a:cubicBezTo>
                    <a:pt x="101" y="204"/>
                    <a:pt x="95" y="207"/>
                    <a:pt x="92" y="210"/>
                  </a:cubicBezTo>
                  <a:cubicBezTo>
                    <a:pt x="71" y="225"/>
                    <a:pt x="77" y="225"/>
                    <a:pt x="54" y="204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6948966" y="5730402"/>
              <a:ext cx="299938" cy="214451"/>
            </a:xfrm>
            <a:custGeom>
              <a:avLst/>
              <a:gdLst>
                <a:gd name="T0" fmla="*/ 309048863 w 126"/>
                <a:gd name="T1" fmla="*/ 684667857 h 99"/>
                <a:gd name="T2" fmla="*/ 103017175 w 126"/>
                <a:gd name="T3" fmla="*/ 622425818 h 99"/>
                <a:gd name="T4" fmla="*/ 41206864 w 126"/>
                <a:gd name="T5" fmla="*/ 373455031 h 99"/>
                <a:gd name="T6" fmla="*/ 144221408 w 126"/>
                <a:gd name="T7" fmla="*/ 269717339 h 99"/>
                <a:gd name="T8" fmla="*/ 185428302 w 126"/>
                <a:gd name="T9" fmla="*/ 228221770 h 99"/>
                <a:gd name="T10" fmla="*/ 185428302 w 126"/>
                <a:gd name="T11" fmla="*/ 103737650 h 99"/>
                <a:gd name="T12" fmla="*/ 206031729 w 126"/>
                <a:gd name="T13" fmla="*/ 103737650 h 99"/>
                <a:gd name="T14" fmla="*/ 329649669 w 126"/>
                <a:gd name="T15" fmla="*/ 103737650 h 99"/>
                <a:gd name="T16" fmla="*/ 494477165 w 126"/>
                <a:gd name="T17" fmla="*/ 0 h 99"/>
                <a:gd name="T18" fmla="*/ 782920062 w 126"/>
                <a:gd name="T19" fmla="*/ 0 h 99"/>
                <a:gd name="T20" fmla="*/ 865333769 w 126"/>
                <a:gd name="T21" fmla="*/ 124484120 h 99"/>
                <a:gd name="T22" fmla="*/ 782920062 w 126"/>
                <a:gd name="T23" fmla="*/ 248970870 h 99"/>
                <a:gd name="T24" fmla="*/ 679905385 w 126"/>
                <a:gd name="T25" fmla="*/ 477192639 h 99"/>
                <a:gd name="T26" fmla="*/ 370856604 w 126"/>
                <a:gd name="T27" fmla="*/ 663921387 h 99"/>
                <a:gd name="T28" fmla="*/ 309048863 w 126"/>
                <a:gd name="T29" fmla="*/ 684667857 h 9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6"/>
                <a:gd name="T46" fmla="*/ 0 h 99"/>
                <a:gd name="T47" fmla="*/ 126 w 126"/>
                <a:gd name="T48" fmla="*/ 99 h 9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6" h="99">
                  <a:moveTo>
                    <a:pt x="45" y="99"/>
                  </a:moveTo>
                  <a:cubicBezTo>
                    <a:pt x="36" y="96"/>
                    <a:pt x="27" y="93"/>
                    <a:pt x="15" y="90"/>
                  </a:cubicBezTo>
                  <a:cubicBezTo>
                    <a:pt x="0" y="78"/>
                    <a:pt x="6" y="69"/>
                    <a:pt x="6" y="54"/>
                  </a:cubicBezTo>
                  <a:cubicBezTo>
                    <a:pt x="9" y="39"/>
                    <a:pt x="6" y="42"/>
                    <a:pt x="21" y="39"/>
                  </a:cubicBezTo>
                  <a:cubicBezTo>
                    <a:pt x="21" y="36"/>
                    <a:pt x="24" y="33"/>
                    <a:pt x="27" y="33"/>
                  </a:cubicBezTo>
                  <a:cubicBezTo>
                    <a:pt x="27" y="27"/>
                    <a:pt x="27" y="21"/>
                    <a:pt x="27" y="15"/>
                  </a:cubicBezTo>
                  <a:cubicBezTo>
                    <a:pt x="27" y="15"/>
                    <a:pt x="27" y="15"/>
                    <a:pt x="30" y="15"/>
                  </a:cubicBezTo>
                  <a:cubicBezTo>
                    <a:pt x="33" y="15"/>
                    <a:pt x="39" y="18"/>
                    <a:pt x="48" y="15"/>
                  </a:cubicBezTo>
                  <a:cubicBezTo>
                    <a:pt x="57" y="12"/>
                    <a:pt x="63" y="6"/>
                    <a:pt x="72" y="0"/>
                  </a:cubicBezTo>
                  <a:cubicBezTo>
                    <a:pt x="87" y="0"/>
                    <a:pt x="99" y="0"/>
                    <a:pt x="114" y="0"/>
                  </a:cubicBezTo>
                  <a:cubicBezTo>
                    <a:pt x="117" y="0"/>
                    <a:pt x="126" y="6"/>
                    <a:pt x="126" y="18"/>
                  </a:cubicBezTo>
                  <a:cubicBezTo>
                    <a:pt x="123" y="24"/>
                    <a:pt x="120" y="30"/>
                    <a:pt x="114" y="36"/>
                  </a:cubicBezTo>
                  <a:cubicBezTo>
                    <a:pt x="108" y="45"/>
                    <a:pt x="102" y="54"/>
                    <a:pt x="99" y="69"/>
                  </a:cubicBezTo>
                  <a:cubicBezTo>
                    <a:pt x="84" y="78"/>
                    <a:pt x="69" y="87"/>
                    <a:pt x="54" y="96"/>
                  </a:cubicBezTo>
                  <a:cubicBezTo>
                    <a:pt x="51" y="99"/>
                    <a:pt x="48" y="99"/>
                    <a:pt x="45" y="99"/>
                  </a:cubicBezTo>
                  <a:close/>
                </a:path>
              </a:pathLst>
            </a:custGeom>
            <a:solidFill>
              <a:schemeClr val="accent3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5" name="Freeform 21"/>
            <p:cNvSpPr>
              <a:spLocks/>
            </p:cNvSpPr>
            <p:nvPr/>
          </p:nvSpPr>
          <p:spPr bwMode="auto">
            <a:xfrm>
              <a:off x="6350533" y="4577077"/>
              <a:ext cx="719563" cy="577970"/>
            </a:xfrm>
            <a:custGeom>
              <a:avLst/>
              <a:gdLst>
                <a:gd name="T0" fmla="*/ 818771280 w 302"/>
                <a:gd name="T1" fmla="*/ 1843999086 h 267"/>
                <a:gd name="T2" fmla="*/ 660519571 w 302"/>
                <a:gd name="T3" fmla="*/ 1719684408 h 267"/>
                <a:gd name="T4" fmla="*/ 598597106 w 302"/>
                <a:gd name="T5" fmla="*/ 1698965295 h 267"/>
                <a:gd name="T6" fmla="*/ 371542822 w 302"/>
                <a:gd name="T7" fmla="*/ 1761122634 h 267"/>
                <a:gd name="T8" fmla="*/ 330261097 w 302"/>
                <a:gd name="T9" fmla="*/ 1823279973 h 267"/>
                <a:gd name="T10" fmla="*/ 350902001 w 302"/>
                <a:gd name="T11" fmla="*/ 1698965295 h 267"/>
                <a:gd name="T12" fmla="*/ 350902001 w 302"/>
                <a:gd name="T13" fmla="*/ 1553931504 h 267"/>
                <a:gd name="T14" fmla="*/ 206413544 w 302"/>
                <a:gd name="T15" fmla="*/ 1491774165 h 267"/>
                <a:gd name="T16" fmla="*/ 227054366 w 302"/>
                <a:gd name="T17" fmla="*/ 1408897713 h 267"/>
                <a:gd name="T18" fmla="*/ 288976831 w 302"/>
                <a:gd name="T19" fmla="*/ 1222425367 h 267"/>
                <a:gd name="T20" fmla="*/ 288976831 w 302"/>
                <a:gd name="T21" fmla="*/ 1098110689 h 267"/>
                <a:gd name="T22" fmla="*/ 247695187 w 302"/>
                <a:gd name="T23" fmla="*/ 1056672463 h 267"/>
                <a:gd name="T24" fmla="*/ 61925108 w 302"/>
                <a:gd name="T25" fmla="*/ 1077391576 h 267"/>
                <a:gd name="T26" fmla="*/ 20640827 w 302"/>
                <a:gd name="T27" fmla="*/ 994515124 h 267"/>
                <a:gd name="T28" fmla="*/ 0 w 302"/>
                <a:gd name="T29" fmla="*/ 953076898 h 267"/>
                <a:gd name="T30" fmla="*/ 206413544 w 302"/>
                <a:gd name="T31" fmla="*/ 745888396 h 267"/>
                <a:gd name="T32" fmla="*/ 247695187 w 302"/>
                <a:gd name="T33" fmla="*/ 745888396 h 267"/>
                <a:gd name="T34" fmla="*/ 495390375 w 302"/>
                <a:gd name="T35" fmla="*/ 787326622 h 267"/>
                <a:gd name="T36" fmla="*/ 536672018 w 302"/>
                <a:gd name="T37" fmla="*/ 745888396 h 267"/>
                <a:gd name="T38" fmla="*/ 557315463 w 302"/>
                <a:gd name="T39" fmla="*/ 663011780 h 267"/>
                <a:gd name="T40" fmla="*/ 598597106 w 302"/>
                <a:gd name="T41" fmla="*/ 663011780 h 267"/>
                <a:gd name="T42" fmla="*/ 860052923 w 302"/>
                <a:gd name="T43" fmla="*/ 704450170 h 267"/>
                <a:gd name="T44" fmla="*/ 901334566 w 302"/>
                <a:gd name="T45" fmla="*/ 497258876 h 267"/>
                <a:gd name="T46" fmla="*/ 681163016 w 302"/>
                <a:gd name="T47" fmla="*/ 372944198 h 267"/>
                <a:gd name="T48" fmla="*/ 736205370 w 302"/>
                <a:gd name="T49" fmla="*/ 269348551 h 267"/>
                <a:gd name="T50" fmla="*/ 798127835 w 302"/>
                <a:gd name="T51" fmla="*/ 310786777 h 267"/>
                <a:gd name="T52" fmla="*/ 942618833 w 302"/>
                <a:gd name="T53" fmla="*/ 352225085 h 267"/>
                <a:gd name="T54" fmla="*/ 1314161491 w 302"/>
                <a:gd name="T55" fmla="*/ 103595606 h 267"/>
                <a:gd name="T56" fmla="*/ 1479291015 w 302"/>
                <a:gd name="T57" fmla="*/ 0 h 267"/>
                <a:gd name="T58" fmla="*/ 1603138567 w 302"/>
                <a:gd name="T59" fmla="*/ 227910325 h 267"/>
                <a:gd name="T60" fmla="*/ 1809552030 w 302"/>
                <a:gd name="T61" fmla="*/ 455820650 h 267"/>
                <a:gd name="T62" fmla="*/ 1912758761 w 302"/>
                <a:gd name="T63" fmla="*/ 476539763 h 267"/>
                <a:gd name="T64" fmla="*/ 1912758761 w 302"/>
                <a:gd name="T65" fmla="*/ 704450170 h 267"/>
                <a:gd name="T66" fmla="*/ 1726986120 w 302"/>
                <a:gd name="T67" fmla="*/ 911641300 h 267"/>
                <a:gd name="T68" fmla="*/ 1809552030 w 302"/>
                <a:gd name="T69" fmla="*/ 890922187 h 267"/>
                <a:gd name="T70" fmla="*/ 1954040404 w 302"/>
                <a:gd name="T71" fmla="*/ 890922187 h 267"/>
                <a:gd name="T72" fmla="*/ 1954040404 w 302"/>
                <a:gd name="T73" fmla="*/ 1118829802 h 267"/>
                <a:gd name="T74" fmla="*/ 2036606314 w 302"/>
                <a:gd name="T75" fmla="*/ 1222425367 h 267"/>
                <a:gd name="T76" fmla="*/ 2077887957 w 302"/>
                <a:gd name="T77" fmla="*/ 1305301819 h 267"/>
                <a:gd name="T78" fmla="*/ 1892117939 w 302"/>
                <a:gd name="T79" fmla="*/ 1367459158 h 267"/>
                <a:gd name="T80" fmla="*/ 1644420211 w 302"/>
                <a:gd name="T81" fmla="*/ 1574650617 h 267"/>
                <a:gd name="T82" fmla="*/ 1438009372 w 302"/>
                <a:gd name="T83" fmla="*/ 1616088843 h 267"/>
                <a:gd name="T84" fmla="*/ 1334802313 w 302"/>
                <a:gd name="T85" fmla="*/ 1574650617 h 267"/>
                <a:gd name="T86" fmla="*/ 1169673117 w 302"/>
                <a:gd name="T87" fmla="*/ 1491774165 h 267"/>
                <a:gd name="T88" fmla="*/ 1128388850 w 302"/>
                <a:gd name="T89" fmla="*/ 1533212391 h 267"/>
                <a:gd name="T90" fmla="*/ 1128388850 w 302"/>
                <a:gd name="T91" fmla="*/ 1595369730 h 267"/>
                <a:gd name="T92" fmla="*/ 942618833 w 302"/>
                <a:gd name="T93" fmla="*/ 1802560860 h 267"/>
                <a:gd name="T94" fmla="*/ 818771280 w 302"/>
                <a:gd name="T95" fmla="*/ 1843999086 h 26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02"/>
                <a:gd name="T145" fmla="*/ 0 h 267"/>
                <a:gd name="T146" fmla="*/ 302 w 302"/>
                <a:gd name="T147" fmla="*/ 267 h 26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02" h="267">
                  <a:moveTo>
                    <a:pt x="119" y="267"/>
                  </a:moveTo>
                  <a:cubicBezTo>
                    <a:pt x="105" y="261"/>
                    <a:pt x="102" y="255"/>
                    <a:pt x="96" y="249"/>
                  </a:cubicBezTo>
                  <a:cubicBezTo>
                    <a:pt x="93" y="249"/>
                    <a:pt x="90" y="246"/>
                    <a:pt x="87" y="246"/>
                  </a:cubicBezTo>
                  <a:cubicBezTo>
                    <a:pt x="69" y="246"/>
                    <a:pt x="66" y="246"/>
                    <a:pt x="54" y="255"/>
                  </a:cubicBezTo>
                  <a:cubicBezTo>
                    <a:pt x="54" y="258"/>
                    <a:pt x="51" y="261"/>
                    <a:pt x="48" y="264"/>
                  </a:cubicBezTo>
                  <a:cubicBezTo>
                    <a:pt x="48" y="255"/>
                    <a:pt x="48" y="252"/>
                    <a:pt x="51" y="246"/>
                  </a:cubicBezTo>
                  <a:cubicBezTo>
                    <a:pt x="51" y="240"/>
                    <a:pt x="51" y="234"/>
                    <a:pt x="51" y="225"/>
                  </a:cubicBezTo>
                  <a:cubicBezTo>
                    <a:pt x="45" y="222"/>
                    <a:pt x="36" y="219"/>
                    <a:pt x="30" y="216"/>
                  </a:cubicBezTo>
                  <a:cubicBezTo>
                    <a:pt x="30" y="213"/>
                    <a:pt x="33" y="207"/>
                    <a:pt x="33" y="204"/>
                  </a:cubicBezTo>
                  <a:cubicBezTo>
                    <a:pt x="36" y="195"/>
                    <a:pt x="39" y="186"/>
                    <a:pt x="42" y="177"/>
                  </a:cubicBezTo>
                  <a:cubicBezTo>
                    <a:pt x="45" y="174"/>
                    <a:pt x="42" y="162"/>
                    <a:pt x="42" y="159"/>
                  </a:cubicBezTo>
                  <a:cubicBezTo>
                    <a:pt x="39" y="156"/>
                    <a:pt x="36" y="153"/>
                    <a:pt x="36" y="153"/>
                  </a:cubicBezTo>
                  <a:cubicBezTo>
                    <a:pt x="27" y="153"/>
                    <a:pt x="18" y="153"/>
                    <a:pt x="9" y="156"/>
                  </a:cubicBezTo>
                  <a:cubicBezTo>
                    <a:pt x="0" y="156"/>
                    <a:pt x="3" y="147"/>
                    <a:pt x="3" y="144"/>
                  </a:cubicBezTo>
                  <a:cubicBezTo>
                    <a:pt x="0" y="141"/>
                    <a:pt x="0" y="141"/>
                    <a:pt x="0" y="138"/>
                  </a:cubicBezTo>
                  <a:cubicBezTo>
                    <a:pt x="0" y="114"/>
                    <a:pt x="9" y="114"/>
                    <a:pt x="30" y="108"/>
                  </a:cubicBezTo>
                  <a:cubicBezTo>
                    <a:pt x="33" y="108"/>
                    <a:pt x="33" y="108"/>
                    <a:pt x="36" y="108"/>
                  </a:cubicBezTo>
                  <a:cubicBezTo>
                    <a:pt x="45" y="114"/>
                    <a:pt x="57" y="120"/>
                    <a:pt x="72" y="114"/>
                  </a:cubicBezTo>
                  <a:cubicBezTo>
                    <a:pt x="75" y="111"/>
                    <a:pt x="75" y="108"/>
                    <a:pt x="78" y="108"/>
                  </a:cubicBezTo>
                  <a:cubicBezTo>
                    <a:pt x="78" y="105"/>
                    <a:pt x="81" y="99"/>
                    <a:pt x="81" y="96"/>
                  </a:cubicBezTo>
                  <a:cubicBezTo>
                    <a:pt x="81" y="96"/>
                    <a:pt x="84" y="96"/>
                    <a:pt x="87" y="96"/>
                  </a:cubicBezTo>
                  <a:cubicBezTo>
                    <a:pt x="90" y="102"/>
                    <a:pt x="110" y="102"/>
                    <a:pt x="125" y="102"/>
                  </a:cubicBezTo>
                  <a:cubicBezTo>
                    <a:pt x="134" y="93"/>
                    <a:pt x="131" y="81"/>
                    <a:pt x="131" y="72"/>
                  </a:cubicBezTo>
                  <a:cubicBezTo>
                    <a:pt x="119" y="60"/>
                    <a:pt x="107" y="57"/>
                    <a:pt x="99" y="54"/>
                  </a:cubicBezTo>
                  <a:cubicBezTo>
                    <a:pt x="93" y="42"/>
                    <a:pt x="96" y="39"/>
                    <a:pt x="107" y="39"/>
                  </a:cubicBezTo>
                  <a:cubicBezTo>
                    <a:pt x="110" y="42"/>
                    <a:pt x="113" y="45"/>
                    <a:pt x="116" y="45"/>
                  </a:cubicBezTo>
                  <a:cubicBezTo>
                    <a:pt x="125" y="48"/>
                    <a:pt x="131" y="48"/>
                    <a:pt x="137" y="51"/>
                  </a:cubicBezTo>
                  <a:cubicBezTo>
                    <a:pt x="158" y="51"/>
                    <a:pt x="182" y="33"/>
                    <a:pt x="191" y="15"/>
                  </a:cubicBezTo>
                  <a:cubicBezTo>
                    <a:pt x="191" y="0"/>
                    <a:pt x="203" y="0"/>
                    <a:pt x="215" y="0"/>
                  </a:cubicBezTo>
                  <a:cubicBezTo>
                    <a:pt x="224" y="3"/>
                    <a:pt x="230" y="18"/>
                    <a:pt x="233" y="33"/>
                  </a:cubicBezTo>
                  <a:cubicBezTo>
                    <a:pt x="242" y="42"/>
                    <a:pt x="248" y="54"/>
                    <a:pt x="263" y="66"/>
                  </a:cubicBezTo>
                  <a:cubicBezTo>
                    <a:pt x="266" y="66"/>
                    <a:pt x="272" y="69"/>
                    <a:pt x="278" y="69"/>
                  </a:cubicBezTo>
                  <a:cubicBezTo>
                    <a:pt x="278" y="78"/>
                    <a:pt x="287" y="90"/>
                    <a:pt x="278" y="102"/>
                  </a:cubicBezTo>
                  <a:cubicBezTo>
                    <a:pt x="260" y="114"/>
                    <a:pt x="248" y="105"/>
                    <a:pt x="251" y="132"/>
                  </a:cubicBezTo>
                  <a:cubicBezTo>
                    <a:pt x="254" y="132"/>
                    <a:pt x="260" y="129"/>
                    <a:pt x="263" y="129"/>
                  </a:cubicBezTo>
                  <a:cubicBezTo>
                    <a:pt x="272" y="129"/>
                    <a:pt x="278" y="129"/>
                    <a:pt x="284" y="129"/>
                  </a:cubicBezTo>
                  <a:cubicBezTo>
                    <a:pt x="284" y="138"/>
                    <a:pt x="284" y="150"/>
                    <a:pt x="284" y="162"/>
                  </a:cubicBezTo>
                  <a:cubicBezTo>
                    <a:pt x="284" y="168"/>
                    <a:pt x="287" y="171"/>
                    <a:pt x="296" y="177"/>
                  </a:cubicBezTo>
                  <a:cubicBezTo>
                    <a:pt x="296" y="180"/>
                    <a:pt x="299" y="183"/>
                    <a:pt x="302" y="189"/>
                  </a:cubicBezTo>
                  <a:cubicBezTo>
                    <a:pt x="290" y="189"/>
                    <a:pt x="284" y="195"/>
                    <a:pt x="275" y="198"/>
                  </a:cubicBezTo>
                  <a:cubicBezTo>
                    <a:pt x="266" y="213"/>
                    <a:pt x="251" y="219"/>
                    <a:pt x="239" y="228"/>
                  </a:cubicBezTo>
                  <a:cubicBezTo>
                    <a:pt x="230" y="234"/>
                    <a:pt x="218" y="237"/>
                    <a:pt x="209" y="234"/>
                  </a:cubicBezTo>
                  <a:cubicBezTo>
                    <a:pt x="203" y="234"/>
                    <a:pt x="200" y="231"/>
                    <a:pt x="194" y="228"/>
                  </a:cubicBezTo>
                  <a:cubicBezTo>
                    <a:pt x="182" y="213"/>
                    <a:pt x="182" y="219"/>
                    <a:pt x="170" y="216"/>
                  </a:cubicBezTo>
                  <a:cubicBezTo>
                    <a:pt x="167" y="219"/>
                    <a:pt x="164" y="219"/>
                    <a:pt x="164" y="222"/>
                  </a:cubicBezTo>
                  <a:cubicBezTo>
                    <a:pt x="164" y="225"/>
                    <a:pt x="164" y="228"/>
                    <a:pt x="164" y="231"/>
                  </a:cubicBezTo>
                  <a:cubicBezTo>
                    <a:pt x="155" y="240"/>
                    <a:pt x="143" y="249"/>
                    <a:pt x="137" y="261"/>
                  </a:cubicBezTo>
                  <a:cubicBezTo>
                    <a:pt x="128" y="264"/>
                    <a:pt x="122" y="264"/>
                    <a:pt x="119" y="267"/>
                  </a:cubicBezTo>
                  <a:close/>
                </a:path>
              </a:pathLst>
            </a:custGeom>
            <a:solidFill>
              <a:schemeClr val="accent3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6" name="Freeform 22"/>
            <p:cNvSpPr>
              <a:spLocks/>
            </p:cNvSpPr>
            <p:nvPr/>
          </p:nvSpPr>
          <p:spPr bwMode="auto">
            <a:xfrm>
              <a:off x="6469499" y="4953677"/>
              <a:ext cx="882509" cy="601508"/>
            </a:xfrm>
            <a:custGeom>
              <a:avLst/>
              <a:gdLst>
                <a:gd name="T0" fmla="*/ 1544454801 w 370"/>
                <a:gd name="T1" fmla="*/ 1856119346 h 278"/>
                <a:gd name="T2" fmla="*/ 1461715530 w 370"/>
                <a:gd name="T3" fmla="*/ 1814718392 h 278"/>
                <a:gd name="T4" fmla="*/ 1337606295 w 370"/>
                <a:gd name="T5" fmla="*/ 1835417556 h 278"/>
                <a:gd name="T6" fmla="*/ 944598694 w 370"/>
                <a:gd name="T7" fmla="*/ 1835417556 h 278"/>
                <a:gd name="T8" fmla="*/ 737753142 w 370"/>
                <a:gd name="T9" fmla="*/ 1711217321 h 278"/>
                <a:gd name="T10" fmla="*/ 696383506 w 370"/>
                <a:gd name="T11" fmla="*/ 1649117203 h 278"/>
                <a:gd name="T12" fmla="*/ 717067011 w 370"/>
                <a:gd name="T13" fmla="*/ 1400714106 h 278"/>
                <a:gd name="T14" fmla="*/ 634330201 w 370"/>
                <a:gd name="T15" fmla="*/ 1317911870 h 278"/>
                <a:gd name="T16" fmla="*/ 268901401 w 370"/>
                <a:gd name="T17" fmla="*/ 1276513543 h 278"/>
                <a:gd name="T18" fmla="*/ 351638129 w 370"/>
                <a:gd name="T19" fmla="*/ 1173012472 h 278"/>
                <a:gd name="T20" fmla="*/ 468851659 w 370"/>
                <a:gd name="T21" fmla="*/ 910808181 h 278"/>
                <a:gd name="T22" fmla="*/ 62053161 w 370"/>
                <a:gd name="T23" fmla="*/ 765908783 h 278"/>
                <a:gd name="T24" fmla="*/ 206845635 w 370"/>
                <a:gd name="T25" fmla="*/ 538204685 h 278"/>
                <a:gd name="T26" fmla="*/ 406798518 w 370"/>
                <a:gd name="T27" fmla="*/ 662407547 h 278"/>
                <a:gd name="T28" fmla="*/ 820489787 w 370"/>
                <a:gd name="T29" fmla="*/ 414004450 h 278"/>
                <a:gd name="T30" fmla="*/ 903229059 w 370"/>
                <a:gd name="T31" fmla="*/ 331202460 h 278"/>
                <a:gd name="T32" fmla="*/ 1110077237 w 370"/>
                <a:gd name="T33" fmla="*/ 476104568 h 278"/>
                <a:gd name="T34" fmla="*/ 1316922790 w 370"/>
                <a:gd name="T35" fmla="*/ 414004450 h 278"/>
                <a:gd name="T36" fmla="*/ 1544454801 w 370"/>
                <a:gd name="T37" fmla="*/ 248403179 h 278"/>
                <a:gd name="T38" fmla="*/ 1896092766 w 370"/>
                <a:gd name="T39" fmla="*/ 124200276 h 278"/>
                <a:gd name="T40" fmla="*/ 2147483647 w 370"/>
                <a:gd name="T41" fmla="*/ 124200276 h 278"/>
                <a:gd name="T42" fmla="*/ 2147483647 w 370"/>
                <a:gd name="T43" fmla="*/ 393302660 h 278"/>
                <a:gd name="T44" fmla="*/ 2147483647 w 370"/>
                <a:gd name="T45" fmla="*/ 496803731 h 278"/>
                <a:gd name="T46" fmla="*/ 2147483647 w 370"/>
                <a:gd name="T47" fmla="*/ 641705757 h 278"/>
                <a:gd name="T48" fmla="*/ 2147483647 w 370"/>
                <a:gd name="T49" fmla="*/ 828008900 h 278"/>
                <a:gd name="T50" fmla="*/ 2147483647 w 370"/>
                <a:gd name="T51" fmla="*/ 910808181 h 278"/>
                <a:gd name="T52" fmla="*/ 2147483647 w 370"/>
                <a:gd name="T53" fmla="*/ 1173012472 h 278"/>
                <a:gd name="T54" fmla="*/ 2123624449 w 370"/>
                <a:gd name="T55" fmla="*/ 1442115060 h 278"/>
                <a:gd name="T56" fmla="*/ 1958145906 w 370"/>
                <a:gd name="T57" fmla="*/ 1587017086 h 278"/>
                <a:gd name="T58" fmla="*/ 1937462401 w 370"/>
                <a:gd name="T59" fmla="*/ 1607716249 h 278"/>
                <a:gd name="T60" fmla="*/ 1834039625 w 370"/>
                <a:gd name="T61" fmla="*/ 1711217321 h 278"/>
                <a:gd name="T62" fmla="*/ 1606507942 w 370"/>
                <a:gd name="T63" fmla="*/ 1918219464 h 27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70"/>
                <a:gd name="T97" fmla="*/ 0 h 278"/>
                <a:gd name="T98" fmla="*/ 370 w 370"/>
                <a:gd name="T99" fmla="*/ 278 h 27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70" h="278">
                  <a:moveTo>
                    <a:pt x="224" y="278"/>
                  </a:moveTo>
                  <a:cubicBezTo>
                    <a:pt x="224" y="275"/>
                    <a:pt x="224" y="272"/>
                    <a:pt x="224" y="269"/>
                  </a:cubicBezTo>
                  <a:cubicBezTo>
                    <a:pt x="221" y="269"/>
                    <a:pt x="221" y="266"/>
                    <a:pt x="218" y="266"/>
                  </a:cubicBezTo>
                  <a:cubicBezTo>
                    <a:pt x="215" y="266"/>
                    <a:pt x="215" y="263"/>
                    <a:pt x="212" y="263"/>
                  </a:cubicBezTo>
                  <a:cubicBezTo>
                    <a:pt x="209" y="251"/>
                    <a:pt x="203" y="251"/>
                    <a:pt x="197" y="254"/>
                  </a:cubicBezTo>
                  <a:cubicBezTo>
                    <a:pt x="194" y="260"/>
                    <a:pt x="194" y="263"/>
                    <a:pt x="194" y="266"/>
                  </a:cubicBezTo>
                  <a:cubicBezTo>
                    <a:pt x="182" y="269"/>
                    <a:pt x="170" y="269"/>
                    <a:pt x="158" y="269"/>
                  </a:cubicBezTo>
                  <a:cubicBezTo>
                    <a:pt x="152" y="269"/>
                    <a:pt x="146" y="266"/>
                    <a:pt x="137" y="266"/>
                  </a:cubicBezTo>
                  <a:cubicBezTo>
                    <a:pt x="131" y="263"/>
                    <a:pt x="128" y="263"/>
                    <a:pt x="122" y="263"/>
                  </a:cubicBezTo>
                  <a:cubicBezTo>
                    <a:pt x="116" y="257"/>
                    <a:pt x="113" y="254"/>
                    <a:pt x="107" y="248"/>
                  </a:cubicBezTo>
                  <a:cubicBezTo>
                    <a:pt x="107" y="245"/>
                    <a:pt x="104" y="242"/>
                    <a:pt x="101" y="239"/>
                  </a:cubicBezTo>
                  <a:cubicBezTo>
                    <a:pt x="101" y="239"/>
                    <a:pt x="101" y="239"/>
                    <a:pt x="101" y="239"/>
                  </a:cubicBezTo>
                  <a:cubicBezTo>
                    <a:pt x="95" y="227"/>
                    <a:pt x="101" y="224"/>
                    <a:pt x="104" y="215"/>
                  </a:cubicBezTo>
                  <a:cubicBezTo>
                    <a:pt x="104" y="212"/>
                    <a:pt x="104" y="206"/>
                    <a:pt x="104" y="203"/>
                  </a:cubicBezTo>
                  <a:cubicBezTo>
                    <a:pt x="101" y="200"/>
                    <a:pt x="95" y="197"/>
                    <a:pt x="92" y="194"/>
                  </a:cubicBezTo>
                  <a:cubicBezTo>
                    <a:pt x="92" y="191"/>
                    <a:pt x="92" y="191"/>
                    <a:pt x="92" y="191"/>
                  </a:cubicBezTo>
                  <a:cubicBezTo>
                    <a:pt x="74" y="191"/>
                    <a:pt x="62" y="191"/>
                    <a:pt x="51" y="188"/>
                  </a:cubicBezTo>
                  <a:cubicBezTo>
                    <a:pt x="48" y="188"/>
                    <a:pt x="45" y="185"/>
                    <a:pt x="39" y="185"/>
                  </a:cubicBezTo>
                  <a:cubicBezTo>
                    <a:pt x="39" y="179"/>
                    <a:pt x="36" y="176"/>
                    <a:pt x="36" y="170"/>
                  </a:cubicBezTo>
                  <a:cubicBezTo>
                    <a:pt x="39" y="170"/>
                    <a:pt x="45" y="170"/>
                    <a:pt x="51" y="170"/>
                  </a:cubicBezTo>
                  <a:cubicBezTo>
                    <a:pt x="56" y="170"/>
                    <a:pt x="62" y="161"/>
                    <a:pt x="68" y="158"/>
                  </a:cubicBezTo>
                  <a:cubicBezTo>
                    <a:pt x="74" y="147"/>
                    <a:pt x="74" y="138"/>
                    <a:pt x="68" y="132"/>
                  </a:cubicBezTo>
                  <a:cubicBezTo>
                    <a:pt x="65" y="132"/>
                    <a:pt x="59" y="132"/>
                    <a:pt x="56" y="132"/>
                  </a:cubicBezTo>
                  <a:cubicBezTo>
                    <a:pt x="39" y="120"/>
                    <a:pt x="21" y="117"/>
                    <a:pt x="9" y="111"/>
                  </a:cubicBezTo>
                  <a:cubicBezTo>
                    <a:pt x="3" y="105"/>
                    <a:pt x="0" y="99"/>
                    <a:pt x="0" y="96"/>
                  </a:cubicBezTo>
                  <a:cubicBezTo>
                    <a:pt x="9" y="81"/>
                    <a:pt x="9" y="78"/>
                    <a:pt x="30" y="78"/>
                  </a:cubicBezTo>
                  <a:cubicBezTo>
                    <a:pt x="36" y="78"/>
                    <a:pt x="39" y="81"/>
                    <a:pt x="45" y="81"/>
                  </a:cubicBezTo>
                  <a:cubicBezTo>
                    <a:pt x="48" y="87"/>
                    <a:pt x="54" y="90"/>
                    <a:pt x="59" y="96"/>
                  </a:cubicBezTo>
                  <a:cubicBezTo>
                    <a:pt x="65" y="96"/>
                    <a:pt x="71" y="99"/>
                    <a:pt x="83" y="96"/>
                  </a:cubicBezTo>
                  <a:cubicBezTo>
                    <a:pt x="95" y="87"/>
                    <a:pt x="107" y="69"/>
                    <a:pt x="119" y="60"/>
                  </a:cubicBezTo>
                  <a:cubicBezTo>
                    <a:pt x="119" y="57"/>
                    <a:pt x="119" y="54"/>
                    <a:pt x="119" y="48"/>
                  </a:cubicBezTo>
                  <a:cubicBezTo>
                    <a:pt x="122" y="48"/>
                    <a:pt x="125" y="48"/>
                    <a:pt x="131" y="48"/>
                  </a:cubicBezTo>
                  <a:cubicBezTo>
                    <a:pt x="131" y="51"/>
                    <a:pt x="134" y="51"/>
                    <a:pt x="134" y="54"/>
                  </a:cubicBezTo>
                  <a:cubicBezTo>
                    <a:pt x="140" y="57"/>
                    <a:pt x="149" y="63"/>
                    <a:pt x="161" y="69"/>
                  </a:cubicBezTo>
                  <a:cubicBezTo>
                    <a:pt x="164" y="69"/>
                    <a:pt x="167" y="69"/>
                    <a:pt x="170" y="69"/>
                  </a:cubicBezTo>
                  <a:cubicBezTo>
                    <a:pt x="176" y="66"/>
                    <a:pt x="182" y="63"/>
                    <a:pt x="191" y="60"/>
                  </a:cubicBezTo>
                  <a:cubicBezTo>
                    <a:pt x="200" y="51"/>
                    <a:pt x="206" y="48"/>
                    <a:pt x="218" y="42"/>
                  </a:cubicBezTo>
                  <a:cubicBezTo>
                    <a:pt x="218" y="39"/>
                    <a:pt x="221" y="39"/>
                    <a:pt x="224" y="36"/>
                  </a:cubicBezTo>
                  <a:cubicBezTo>
                    <a:pt x="233" y="24"/>
                    <a:pt x="239" y="21"/>
                    <a:pt x="254" y="18"/>
                  </a:cubicBezTo>
                  <a:cubicBezTo>
                    <a:pt x="260" y="18"/>
                    <a:pt x="266" y="18"/>
                    <a:pt x="275" y="18"/>
                  </a:cubicBezTo>
                  <a:cubicBezTo>
                    <a:pt x="290" y="9"/>
                    <a:pt x="293" y="0"/>
                    <a:pt x="314" y="0"/>
                  </a:cubicBezTo>
                  <a:cubicBezTo>
                    <a:pt x="317" y="6"/>
                    <a:pt x="320" y="12"/>
                    <a:pt x="326" y="18"/>
                  </a:cubicBezTo>
                  <a:cubicBezTo>
                    <a:pt x="329" y="21"/>
                    <a:pt x="332" y="24"/>
                    <a:pt x="335" y="27"/>
                  </a:cubicBezTo>
                  <a:cubicBezTo>
                    <a:pt x="329" y="36"/>
                    <a:pt x="323" y="45"/>
                    <a:pt x="317" y="57"/>
                  </a:cubicBezTo>
                  <a:cubicBezTo>
                    <a:pt x="317" y="60"/>
                    <a:pt x="317" y="66"/>
                    <a:pt x="317" y="69"/>
                  </a:cubicBezTo>
                  <a:cubicBezTo>
                    <a:pt x="320" y="72"/>
                    <a:pt x="326" y="72"/>
                    <a:pt x="335" y="72"/>
                  </a:cubicBezTo>
                  <a:cubicBezTo>
                    <a:pt x="335" y="78"/>
                    <a:pt x="338" y="81"/>
                    <a:pt x="338" y="87"/>
                  </a:cubicBezTo>
                  <a:cubicBezTo>
                    <a:pt x="341" y="90"/>
                    <a:pt x="341" y="90"/>
                    <a:pt x="344" y="93"/>
                  </a:cubicBezTo>
                  <a:cubicBezTo>
                    <a:pt x="349" y="93"/>
                    <a:pt x="358" y="90"/>
                    <a:pt x="364" y="90"/>
                  </a:cubicBezTo>
                  <a:cubicBezTo>
                    <a:pt x="370" y="96"/>
                    <a:pt x="370" y="108"/>
                    <a:pt x="370" y="120"/>
                  </a:cubicBezTo>
                  <a:cubicBezTo>
                    <a:pt x="370" y="123"/>
                    <a:pt x="367" y="126"/>
                    <a:pt x="361" y="129"/>
                  </a:cubicBezTo>
                  <a:cubicBezTo>
                    <a:pt x="361" y="132"/>
                    <a:pt x="358" y="132"/>
                    <a:pt x="355" y="132"/>
                  </a:cubicBezTo>
                  <a:cubicBezTo>
                    <a:pt x="355" y="141"/>
                    <a:pt x="355" y="149"/>
                    <a:pt x="352" y="155"/>
                  </a:cubicBezTo>
                  <a:cubicBezTo>
                    <a:pt x="352" y="161"/>
                    <a:pt x="349" y="164"/>
                    <a:pt x="346" y="170"/>
                  </a:cubicBezTo>
                  <a:cubicBezTo>
                    <a:pt x="344" y="170"/>
                    <a:pt x="338" y="173"/>
                    <a:pt x="338" y="179"/>
                  </a:cubicBezTo>
                  <a:cubicBezTo>
                    <a:pt x="326" y="179"/>
                    <a:pt x="317" y="203"/>
                    <a:pt x="308" y="209"/>
                  </a:cubicBezTo>
                  <a:cubicBezTo>
                    <a:pt x="308" y="212"/>
                    <a:pt x="299" y="215"/>
                    <a:pt x="299" y="215"/>
                  </a:cubicBezTo>
                  <a:cubicBezTo>
                    <a:pt x="293" y="221"/>
                    <a:pt x="287" y="227"/>
                    <a:pt x="284" y="230"/>
                  </a:cubicBezTo>
                  <a:cubicBezTo>
                    <a:pt x="284" y="233"/>
                    <a:pt x="284" y="233"/>
                    <a:pt x="284" y="233"/>
                  </a:cubicBezTo>
                  <a:cubicBezTo>
                    <a:pt x="281" y="233"/>
                    <a:pt x="281" y="233"/>
                    <a:pt x="281" y="233"/>
                  </a:cubicBezTo>
                  <a:cubicBezTo>
                    <a:pt x="281" y="236"/>
                    <a:pt x="281" y="236"/>
                    <a:pt x="281" y="236"/>
                  </a:cubicBezTo>
                  <a:cubicBezTo>
                    <a:pt x="275" y="236"/>
                    <a:pt x="269" y="245"/>
                    <a:pt x="266" y="248"/>
                  </a:cubicBezTo>
                  <a:cubicBezTo>
                    <a:pt x="263" y="254"/>
                    <a:pt x="260" y="260"/>
                    <a:pt x="257" y="266"/>
                  </a:cubicBezTo>
                  <a:cubicBezTo>
                    <a:pt x="245" y="269"/>
                    <a:pt x="239" y="272"/>
                    <a:pt x="233" y="278"/>
                  </a:cubicBezTo>
                  <a:cubicBezTo>
                    <a:pt x="227" y="278"/>
                    <a:pt x="227" y="278"/>
                    <a:pt x="224" y="278"/>
                  </a:cubicBezTo>
                  <a:close/>
                </a:path>
              </a:pathLst>
            </a:custGeom>
            <a:solidFill>
              <a:schemeClr val="accent3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7" name="Freeform 23"/>
            <p:cNvSpPr>
              <a:spLocks/>
            </p:cNvSpPr>
            <p:nvPr/>
          </p:nvSpPr>
          <p:spPr bwMode="auto">
            <a:xfrm>
              <a:off x="7069375" y="5037364"/>
              <a:ext cx="925769" cy="653813"/>
            </a:xfrm>
            <a:custGeom>
              <a:avLst/>
              <a:gdLst>
                <a:gd name="T0" fmla="*/ 186293656 w 388"/>
                <a:gd name="T1" fmla="*/ 2086221875 h 302"/>
                <a:gd name="T2" fmla="*/ 82797456 w 388"/>
                <a:gd name="T3" fmla="*/ 1941152294 h 302"/>
                <a:gd name="T4" fmla="*/ 0 w 388"/>
                <a:gd name="T5" fmla="*/ 1796085341 h 302"/>
                <a:gd name="T6" fmla="*/ 62098754 w 388"/>
                <a:gd name="T7" fmla="*/ 1651015760 h 302"/>
                <a:gd name="T8" fmla="*/ 227691060 w 388"/>
                <a:gd name="T9" fmla="*/ 1360878897 h 302"/>
                <a:gd name="T10" fmla="*/ 434686045 w 388"/>
                <a:gd name="T11" fmla="*/ 1174363492 h 302"/>
                <a:gd name="T12" fmla="*/ 634777878 w 388"/>
                <a:gd name="T13" fmla="*/ 946399636 h 302"/>
                <a:gd name="T14" fmla="*/ 717575478 w 388"/>
                <a:gd name="T15" fmla="*/ 801330054 h 302"/>
                <a:gd name="T16" fmla="*/ 841770318 w 388"/>
                <a:gd name="T17" fmla="*/ 580273233 h 302"/>
                <a:gd name="T18" fmla="*/ 841770318 w 388"/>
                <a:gd name="T19" fmla="*/ 373033602 h 302"/>
                <a:gd name="T20" fmla="*/ 903869052 w 388"/>
                <a:gd name="T21" fmla="*/ 227963939 h 302"/>
                <a:gd name="T22" fmla="*/ 945266456 w 388"/>
                <a:gd name="T23" fmla="*/ 145069622 h 302"/>
                <a:gd name="T24" fmla="*/ 1007365190 w 388"/>
                <a:gd name="T25" fmla="*/ 145069622 h 302"/>
                <a:gd name="T26" fmla="*/ 1131560030 w 388"/>
                <a:gd name="T27" fmla="*/ 248688165 h 302"/>
                <a:gd name="T28" fmla="*/ 1193658763 w 388"/>
                <a:gd name="T29" fmla="*/ 248688165 h 302"/>
                <a:gd name="T30" fmla="*/ 1235056168 w 388"/>
                <a:gd name="T31" fmla="*/ 124345396 h 302"/>
                <a:gd name="T32" fmla="*/ 1152261359 w 388"/>
                <a:gd name="T33" fmla="*/ 41448462 h 302"/>
                <a:gd name="T34" fmla="*/ 1172960061 w 388"/>
                <a:gd name="T35" fmla="*/ 41448462 h 302"/>
                <a:gd name="T36" fmla="*/ 1504147506 w 388"/>
                <a:gd name="T37" fmla="*/ 41448462 h 302"/>
                <a:gd name="T38" fmla="*/ 1731841111 w 388"/>
                <a:gd name="T39" fmla="*/ 0 h 302"/>
                <a:gd name="T40" fmla="*/ 1773238515 w 388"/>
                <a:gd name="T41" fmla="*/ 0 h 302"/>
                <a:gd name="T42" fmla="*/ 1773238515 w 388"/>
                <a:gd name="T43" fmla="*/ 82896924 h 302"/>
                <a:gd name="T44" fmla="*/ 1628344973 w 388"/>
                <a:gd name="T45" fmla="*/ 248688165 h 302"/>
                <a:gd name="T46" fmla="*/ 1793937218 w 388"/>
                <a:gd name="T47" fmla="*/ 352309376 h 302"/>
                <a:gd name="T48" fmla="*/ 2000932120 w 388"/>
                <a:gd name="T49" fmla="*/ 269412390 h 302"/>
                <a:gd name="T50" fmla="*/ 2063028227 w 388"/>
                <a:gd name="T51" fmla="*/ 269412390 h 302"/>
                <a:gd name="T52" fmla="*/ 2104428258 w 388"/>
                <a:gd name="T53" fmla="*/ 290136616 h 302"/>
                <a:gd name="T54" fmla="*/ 2147483647 w 388"/>
                <a:gd name="T55" fmla="*/ 207239713 h 302"/>
                <a:gd name="T56" fmla="*/ 2147483647 w 388"/>
                <a:gd name="T57" fmla="*/ 331585068 h 302"/>
                <a:gd name="T58" fmla="*/ 2147483647 w 388"/>
                <a:gd name="T59" fmla="*/ 538824781 h 302"/>
                <a:gd name="T60" fmla="*/ 2147483647 w 388"/>
                <a:gd name="T61" fmla="*/ 580273233 h 302"/>
                <a:gd name="T62" fmla="*/ 2147483647 w 388"/>
                <a:gd name="T63" fmla="*/ 621721684 h 302"/>
                <a:gd name="T64" fmla="*/ 2147483647 w 388"/>
                <a:gd name="T65" fmla="*/ 780605828 h 302"/>
                <a:gd name="T66" fmla="*/ 2147483647 w 388"/>
                <a:gd name="T67" fmla="*/ 801330054 h 302"/>
                <a:gd name="T68" fmla="*/ 2147483647 w 388"/>
                <a:gd name="T69" fmla="*/ 987848087 h 302"/>
                <a:gd name="T70" fmla="*/ 2125126961 w 388"/>
                <a:gd name="T71" fmla="*/ 1029293911 h 302"/>
                <a:gd name="T72" fmla="*/ 2063028227 w 388"/>
                <a:gd name="T73" fmla="*/ 1008569685 h 302"/>
                <a:gd name="T74" fmla="*/ 2000932120 w 388"/>
                <a:gd name="T75" fmla="*/ 1008569685 h 302"/>
                <a:gd name="T76" fmla="*/ 1959532089 w 388"/>
                <a:gd name="T77" fmla="*/ 1050018137 h 302"/>
                <a:gd name="T78" fmla="*/ 1918134685 w 388"/>
                <a:gd name="T79" fmla="*/ 1050018137 h 302"/>
                <a:gd name="T80" fmla="*/ 1793937218 w 388"/>
                <a:gd name="T81" fmla="*/ 1008569685 h 302"/>
                <a:gd name="T82" fmla="*/ 1793937218 w 388"/>
                <a:gd name="T83" fmla="*/ 1112190814 h 302"/>
                <a:gd name="T84" fmla="*/ 1690441080 w 388"/>
                <a:gd name="T85" fmla="*/ 1195087718 h 302"/>
                <a:gd name="T86" fmla="*/ 1607643644 w 388"/>
                <a:gd name="T87" fmla="*/ 1132915040 h 302"/>
                <a:gd name="T88" fmla="*/ 1586944942 w 388"/>
                <a:gd name="T89" fmla="*/ 1132915040 h 302"/>
                <a:gd name="T90" fmla="*/ 1483448804 w 388"/>
                <a:gd name="T91" fmla="*/ 1050018137 h 302"/>
                <a:gd name="T92" fmla="*/ 1442051399 w 388"/>
                <a:gd name="T93" fmla="*/ 1050018137 h 302"/>
                <a:gd name="T94" fmla="*/ 1400651368 w 388"/>
                <a:gd name="T95" fmla="*/ 1132915040 h 302"/>
                <a:gd name="T96" fmla="*/ 1317853604 w 388"/>
                <a:gd name="T97" fmla="*/ 1257260396 h 302"/>
                <a:gd name="T98" fmla="*/ 1193658763 w 388"/>
                <a:gd name="T99" fmla="*/ 1360878897 h 302"/>
                <a:gd name="T100" fmla="*/ 1110861328 w 388"/>
                <a:gd name="T101" fmla="*/ 1381603451 h 302"/>
                <a:gd name="T102" fmla="*/ 1048762594 w 388"/>
                <a:gd name="T103" fmla="*/ 1443776129 h 302"/>
                <a:gd name="T104" fmla="*/ 883170350 w 388"/>
                <a:gd name="T105" fmla="*/ 1485224581 h 302"/>
                <a:gd name="T106" fmla="*/ 862469021 w 388"/>
                <a:gd name="T107" fmla="*/ 1526673033 h 302"/>
                <a:gd name="T108" fmla="*/ 821071616 w 388"/>
                <a:gd name="T109" fmla="*/ 1526673033 h 302"/>
                <a:gd name="T110" fmla="*/ 676175283 w 388"/>
                <a:gd name="T111" fmla="*/ 1526673033 h 302"/>
                <a:gd name="T112" fmla="*/ 476083450 w 388"/>
                <a:gd name="T113" fmla="*/ 1588845710 h 302"/>
                <a:gd name="T114" fmla="*/ 269091092 w 388"/>
                <a:gd name="T115" fmla="*/ 1671739985 h 302"/>
                <a:gd name="T116" fmla="*/ 248392389 w 388"/>
                <a:gd name="T117" fmla="*/ 1754636889 h 302"/>
                <a:gd name="T118" fmla="*/ 165594913 w 388"/>
                <a:gd name="T119" fmla="*/ 1878982244 h 302"/>
                <a:gd name="T120" fmla="*/ 289789794 w 388"/>
                <a:gd name="T121" fmla="*/ 2044773423 h 302"/>
                <a:gd name="T122" fmla="*/ 186293656 w 388"/>
                <a:gd name="T123" fmla="*/ 2086221875 h 30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88"/>
                <a:gd name="T187" fmla="*/ 0 h 302"/>
                <a:gd name="T188" fmla="*/ 388 w 388"/>
                <a:gd name="T189" fmla="*/ 302 h 30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88" h="302">
                  <a:moveTo>
                    <a:pt x="27" y="302"/>
                  </a:moveTo>
                  <a:cubicBezTo>
                    <a:pt x="15" y="293"/>
                    <a:pt x="15" y="287"/>
                    <a:pt x="12" y="281"/>
                  </a:cubicBezTo>
                  <a:cubicBezTo>
                    <a:pt x="9" y="272"/>
                    <a:pt x="3" y="266"/>
                    <a:pt x="0" y="260"/>
                  </a:cubicBezTo>
                  <a:cubicBezTo>
                    <a:pt x="0" y="245"/>
                    <a:pt x="0" y="248"/>
                    <a:pt x="9" y="239"/>
                  </a:cubicBezTo>
                  <a:cubicBezTo>
                    <a:pt x="12" y="215"/>
                    <a:pt x="12" y="212"/>
                    <a:pt x="33" y="197"/>
                  </a:cubicBezTo>
                  <a:cubicBezTo>
                    <a:pt x="42" y="188"/>
                    <a:pt x="51" y="179"/>
                    <a:pt x="63" y="170"/>
                  </a:cubicBezTo>
                  <a:cubicBezTo>
                    <a:pt x="72" y="158"/>
                    <a:pt x="81" y="149"/>
                    <a:pt x="92" y="137"/>
                  </a:cubicBezTo>
                  <a:cubicBezTo>
                    <a:pt x="101" y="131"/>
                    <a:pt x="101" y="125"/>
                    <a:pt x="104" y="116"/>
                  </a:cubicBezTo>
                  <a:cubicBezTo>
                    <a:pt x="104" y="93"/>
                    <a:pt x="110" y="99"/>
                    <a:pt x="122" y="84"/>
                  </a:cubicBezTo>
                  <a:cubicBezTo>
                    <a:pt x="122" y="75"/>
                    <a:pt x="122" y="63"/>
                    <a:pt x="122" y="54"/>
                  </a:cubicBezTo>
                  <a:cubicBezTo>
                    <a:pt x="128" y="48"/>
                    <a:pt x="128" y="39"/>
                    <a:pt x="131" y="33"/>
                  </a:cubicBezTo>
                  <a:cubicBezTo>
                    <a:pt x="131" y="27"/>
                    <a:pt x="134" y="24"/>
                    <a:pt x="137" y="21"/>
                  </a:cubicBezTo>
                  <a:cubicBezTo>
                    <a:pt x="140" y="21"/>
                    <a:pt x="143" y="21"/>
                    <a:pt x="146" y="21"/>
                  </a:cubicBezTo>
                  <a:cubicBezTo>
                    <a:pt x="152" y="24"/>
                    <a:pt x="158" y="30"/>
                    <a:pt x="164" y="36"/>
                  </a:cubicBezTo>
                  <a:cubicBezTo>
                    <a:pt x="167" y="36"/>
                    <a:pt x="170" y="36"/>
                    <a:pt x="173" y="36"/>
                  </a:cubicBezTo>
                  <a:cubicBezTo>
                    <a:pt x="179" y="30"/>
                    <a:pt x="179" y="21"/>
                    <a:pt x="179" y="18"/>
                  </a:cubicBezTo>
                  <a:cubicBezTo>
                    <a:pt x="176" y="15"/>
                    <a:pt x="170" y="9"/>
                    <a:pt x="167" y="6"/>
                  </a:cubicBezTo>
                  <a:cubicBezTo>
                    <a:pt x="170" y="6"/>
                    <a:pt x="170" y="6"/>
                    <a:pt x="170" y="6"/>
                  </a:cubicBezTo>
                  <a:cubicBezTo>
                    <a:pt x="188" y="6"/>
                    <a:pt x="203" y="6"/>
                    <a:pt x="218" y="6"/>
                  </a:cubicBezTo>
                  <a:cubicBezTo>
                    <a:pt x="224" y="9"/>
                    <a:pt x="242" y="9"/>
                    <a:pt x="251" y="0"/>
                  </a:cubicBezTo>
                  <a:cubicBezTo>
                    <a:pt x="254" y="0"/>
                    <a:pt x="254" y="0"/>
                    <a:pt x="257" y="0"/>
                  </a:cubicBezTo>
                  <a:cubicBezTo>
                    <a:pt x="257" y="6"/>
                    <a:pt x="257" y="9"/>
                    <a:pt x="257" y="12"/>
                  </a:cubicBezTo>
                  <a:cubicBezTo>
                    <a:pt x="251" y="18"/>
                    <a:pt x="242" y="27"/>
                    <a:pt x="236" y="36"/>
                  </a:cubicBezTo>
                  <a:cubicBezTo>
                    <a:pt x="236" y="48"/>
                    <a:pt x="239" y="51"/>
                    <a:pt x="260" y="51"/>
                  </a:cubicBezTo>
                  <a:cubicBezTo>
                    <a:pt x="269" y="45"/>
                    <a:pt x="278" y="42"/>
                    <a:pt x="290" y="39"/>
                  </a:cubicBezTo>
                  <a:cubicBezTo>
                    <a:pt x="293" y="39"/>
                    <a:pt x="296" y="39"/>
                    <a:pt x="299" y="39"/>
                  </a:cubicBezTo>
                  <a:cubicBezTo>
                    <a:pt x="299" y="39"/>
                    <a:pt x="302" y="42"/>
                    <a:pt x="305" y="42"/>
                  </a:cubicBezTo>
                  <a:cubicBezTo>
                    <a:pt x="320" y="42"/>
                    <a:pt x="329" y="21"/>
                    <a:pt x="353" y="30"/>
                  </a:cubicBezTo>
                  <a:cubicBezTo>
                    <a:pt x="359" y="36"/>
                    <a:pt x="362" y="42"/>
                    <a:pt x="368" y="48"/>
                  </a:cubicBezTo>
                  <a:cubicBezTo>
                    <a:pt x="374" y="57"/>
                    <a:pt x="382" y="66"/>
                    <a:pt x="388" y="78"/>
                  </a:cubicBezTo>
                  <a:cubicBezTo>
                    <a:pt x="388" y="81"/>
                    <a:pt x="388" y="81"/>
                    <a:pt x="388" y="84"/>
                  </a:cubicBezTo>
                  <a:cubicBezTo>
                    <a:pt x="379" y="84"/>
                    <a:pt x="379" y="87"/>
                    <a:pt x="374" y="90"/>
                  </a:cubicBezTo>
                  <a:cubicBezTo>
                    <a:pt x="368" y="96"/>
                    <a:pt x="353" y="99"/>
                    <a:pt x="362" y="113"/>
                  </a:cubicBezTo>
                  <a:cubicBezTo>
                    <a:pt x="362" y="113"/>
                    <a:pt x="362" y="113"/>
                    <a:pt x="362" y="116"/>
                  </a:cubicBezTo>
                  <a:cubicBezTo>
                    <a:pt x="347" y="122"/>
                    <a:pt x="329" y="134"/>
                    <a:pt x="314" y="143"/>
                  </a:cubicBezTo>
                  <a:cubicBezTo>
                    <a:pt x="314" y="143"/>
                    <a:pt x="311" y="146"/>
                    <a:pt x="308" y="149"/>
                  </a:cubicBezTo>
                  <a:cubicBezTo>
                    <a:pt x="302" y="149"/>
                    <a:pt x="299" y="146"/>
                    <a:pt x="299" y="146"/>
                  </a:cubicBezTo>
                  <a:cubicBezTo>
                    <a:pt x="296" y="146"/>
                    <a:pt x="293" y="146"/>
                    <a:pt x="290" y="146"/>
                  </a:cubicBezTo>
                  <a:cubicBezTo>
                    <a:pt x="287" y="146"/>
                    <a:pt x="284" y="149"/>
                    <a:pt x="284" y="152"/>
                  </a:cubicBezTo>
                  <a:cubicBezTo>
                    <a:pt x="281" y="152"/>
                    <a:pt x="278" y="152"/>
                    <a:pt x="278" y="152"/>
                  </a:cubicBezTo>
                  <a:cubicBezTo>
                    <a:pt x="269" y="143"/>
                    <a:pt x="266" y="146"/>
                    <a:pt x="260" y="146"/>
                  </a:cubicBezTo>
                  <a:cubicBezTo>
                    <a:pt x="260" y="152"/>
                    <a:pt x="260" y="155"/>
                    <a:pt x="260" y="161"/>
                  </a:cubicBezTo>
                  <a:cubicBezTo>
                    <a:pt x="254" y="167"/>
                    <a:pt x="248" y="158"/>
                    <a:pt x="245" y="173"/>
                  </a:cubicBezTo>
                  <a:cubicBezTo>
                    <a:pt x="233" y="173"/>
                    <a:pt x="236" y="170"/>
                    <a:pt x="233" y="164"/>
                  </a:cubicBezTo>
                  <a:cubicBezTo>
                    <a:pt x="230" y="164"/>
                    <a:pt x="230" y="164"/>
                    <a:pt x="230" y="164"/>
                  </a:cubicBezTo>
                  <a:cubicBezTo>
                    <a:pt x="224" y="158"/>
                    <a:pt x="221" y="155"/>
                    <a:pt x="215" y="152"/>
                  </a:cubicBezTo>
                  <a:cubicBezTo>
                    <a:pt x="215" y="152"/>
                    <a:pt x="212" y="152"/>
                    <a:pt x="209" y="152"/>
                  </a:cubicBezTo>
                  <a:cubicBezTo>
                    <a:pt x="206" y="158"/>
                    <a:pt x="206" y="158"/>
                    <a:pt x="203" y="164"/>
                  </a:cubicBezTo>
                  <a:cubicBezTo>
                    <a:pt x="200" y="170"/>
                    <a:pt x="194" y="176"/>
                    <a:pt x="191" y="182"/>
                  </a:cubicBezTo>
                  <a:cubicBezTo>
                    <a:pt x="179" y="188"/>
                    <a:pt x="179" y="188"/>
                    <a:pt x="173" y="197"/>
                  </a:cubicBezTo>
                  <a:cubicBezTo>
                    <a:pt x="170" y="197"/>
                    <a:pt x="167" y="200"/>
                    <a:pt x="161" y="200"/>
                  </a:cubicBezTo>
                  <a:cubicBezTo>
                    <a:pt x="158" y="203"/>
                    <a:pt x="155" y="206"/>
                    <a:pt x="152" y="209"/>
                  </a:cubicBezTo>
                  <a:cubicBezTo>
                    <a:pt x="137" y="209"/>
                    <a:pt x="134" y="209"/>
                    <a:pt x="128" y="215"/>
                  </a:cubicBezTo>
                  <a:cubicBezTo>
                    <a:pt x="128" y="215"/>
                    <a:pt x="128" y="218"/>
                    <a:pt x="125" y="221"/>
                  </a:cubicBezTo>
                  <a:cubicBezTo>
                    <a:pt x="125" y="221"/>
                    <a:pt x="122" y="221"/>
                    <a:pt x="119" y="221"/>
                  </a:cubicBezTo>
                  <a:cubicBezTo>
                    <a:pt x="107" y="215"/>
                    <a:pt x="107" y="218"/>
                    <a:pt x="98" y="221"/>
                  </a:cubicBezTo>
                  <a:cubicBezTo>
                    <a:pt x="87" y="224"/>
                    <a:pt x="78" y="227"/>
                    <a:pt x="69" y="230"/>
                  </a:cubicBezTo>
                  <a:cubicBezTo>
                    <a:pt x="54" y="233"/>
                    <a:pt x="48" y="233"/>
                    <a:pt x="39" y="242"/>
                  </a:cubicBezTo>
                  <a:cubicBezTo>
                    <a:pt x="39" y="248"/>
                    <a:pt x="36" y="251"/>
                    <a:pt x="36" y="254"/>
                  </a:cubicBezTo>
                  <a:cubicBezTo>
                    <a:pt x="27" y="260"/>
                    <a:pt x="24" y="260"/>
                    <a:pt x="24" y="272"/>
                  </a:cubicBezTo>
                  <a:cubicBezTo>
                    <a:pt x="30" y="275"/>
                    <a:pt x="42" y="284"/>
                    <a:pt x="42" y="296"/>
                  </a:cubicBezTo>
                  <a:cubicBezTo>
                    <a:pt x="36" y="299"/>
                    <a:pt x="30" y="302"/>
                    <a:pt x="27" y="302"/>
                  </a:cubicBezTo>
                  <a:close/>
                </a:path>
              </a:pathLst>
            </a:custGeom>
            <a:solidFill>
              <a:schemeClr val="accent3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8" name="Freeform 26"/>
            <p:cNvSpPr>
              <a:spLocks/>
            </p:cNvSpPr>
            <p:nvPr/>
          </p:nvSpPr>
          <p:spPr bwMode="auto">
            <a:xfrm>
              <a:off x="7855990" y="4629385"/>
              <a:ext cx="497493" cy="583201"/>
            </a:xfrm>
            <a:custGeom>
              <a:avLst/>
              <a:gdLst>
                <a:gd name="T0" fmla="*/ 466963009 w 209"/>
                <a:gd name="T1" fmla="*/ 1856664263 h 270"/>
                <a:gd name="T2" fmla="*/ 405158140 w 209"/>
                <a:gd name="T3" fmla="*/ 1732885815 h 270"/>
                <a:gd name="T4" fmla="*/ 405158140 w 209"/>
                <a:gd name="T5" fmla="*/ 1732885815 h 270"/>
                <a:gd name="T6" fmla="*/ 206011946 w 209"/>
                <a:gd name="T7" fmla="*/ 1464701800 h 270"/>
                <a:gd name="T8" fmla="*/ 20602502 w 209"/>
                <a:gd name="T9" fmla="*/ 1444072059 h 270"/>
                <a:gd name="T10" fmla="*/ 41202383 w 209"/>
                <a:gd name="T11" fmla="*/ 1237776940 h 270"/>
                <a:gd name="T12" fmla="*/ 41202383 w 209"/>
                <a:gd name="T13" fmla="*/ 1072739010 h 270"/>
                <a:gd name="T14" fmla="*/ 144209656 w 209"/>
                <a:gd name="T15" fmla="*/ 928333443 h 270"/>
                <a:gd name="T16" fmla="*/ 164809532 w 209"/>
                <a:gd name="T17" fmla="*/ 845814477 h 270"/>
                <a:gd name="T18" fmla="*/ 185412070 w 209"/>
                <a:gd name="T19" fmla="*/ 660146642 h 270"/>
                <a:gd name="T20" fmla="*/ 267816815 w 209"/>
                <a:gd name="T21" fmla="*/ 598257418 h 270"/>
                <a:gd name="T22" fmla="*/ 329621685 w 209"/>
                <a:gd name="T23" fmla="*/ 536370816 h 270"/>
                <a:gd name="T24" fmla="*/ 363955767 w 209"/>
                <a:gd name="T25" fmla="*/ 474481592 h 270"/>
                <a:gd name="T26" fmla="*/ 363955767 w 209"/>
                <a:gd name="T27" fmla="*/ 412592368 h 270"/>
                <a:gd name="T28" fmla="*/ 425760636 w 209"/>
                <a:gd name="T29" fmla="*/ 226924614 h 270"/>
                <a:gd name="T30" fmla="*/ 590570127 w 209"/>
                <a:gd name="T31" fmla="*/ 165037972 h 270"/>
                <a:gd name="T32" fmla="*/ 714180030 w 209"/>
                <a:gd name="T33" fmla="*/ 20629746 h 270"/>
                <a:gd name="T34" fmla="*/ 796584776 w 209"/>
                <a:gd name="T35" fmla="*/ 41259493 h 270"/>
                <a:gd name="T36" fmla="*/ 961394267 w 209"/>
                <a:gd name="T37" fmla="*/ 330073321 h 270"/>
                <a:gd name="T38" fmla="*/ 1167408751 w 209"/>
                <a:gd name="T39" fmla="*/ 350703144 h 270"/>
                <a:gd name="T40" fmla="*/ 1394023439 w 209"/>
                <a:gd name="T41" fmla="*/ 309443579 h 270"/>
                <a:gd name="T42" fmla="*/ 1435225812 w 209"/>
                <a:gd name="T43" fmla="*/ 309443579 h 270"/>
                <a:gd name="T44" fmla="*/ 1332218242 w 209"/>
                <a:gd name="T45" fmla="*/ 433222109 h 270"/>
                <a:gd name="T46" fmla="*/ 1332218242 w 209"/>
                <a:gd name="T47" fmla="*/ 536370816 h 270"/>
                <a:gd name="T48" fmla="*/ 1126206378 w 209"/>
                <a:gd name="T49" fmla="*/ 618887159 h 270"/>
                <a:gd name="T50" fmla="*/ 1208611124 w 209"/>
                <a:gd name="T51" fmla="*/ 701406288 h 270"/>
                <a:gd name="T52" fmla="*/ 1249813497 w 209"/>
                <a:gd name="T53" fmla="*/ 722036029 h 270"/>
                <a:gd name="T54" fmla="*/ 1208611124 w 209"/>
                <a:gd name="T55" fmla="*/ 763295512 h 270"/>
                <a:gd name="T56" fmla="*/ 1188008627 w 209"/>
                <a:gd name="T57" fmla="*/ 1031479527 h 270"/>
                <a:gd name="T58" fmla="*/ 1229213620 w 209"/>
                <a:gd name="T59" fmla="*/ 1052109268 h 270"/>
                <a:gd name="T60" fmla="*/ 1229213620 w 209"/>
                <a:gd name="T61" fmla="*/ 1072739010 h 270"/>
                <a:gd name="T62" fmla="*/ 1208611124 w 209"/>
                <a:gd name="T63" fmla="*/ 1052109268 h 270"/>
                <a:gd name="T64" fmla="*/ 1105603882 w 209"/>
                <a:gd name="T65" fmla="*/ 1072739010 h 270"/>
                <a:gd name="T66" fmla="*/ 1105603882 w 209"/>
                <a:gd name="T67" fmla="*/ 1155257975 h 270"/>
                <a:gd name="T68" fmla="*/ 1002596639 w 209"/>
                <a:gd name="T69" fmla="*/ 1340923024 h 270"/>
                <a:gd name="T70" fmla="*/ 920191894 w 209"/>
                <a:gd name="T71" fmla="*/ 1402812576 h 270"/>
                <a:gd name="T72" fmla="*/ 817184652 w 209"/>
                <a:gd name="T73" fmla="*/ 1423442317 h 270"/>
                <a:gd name="T74" fmla="*/ 837787148 w 209"/>
                <a:gd name="T75" fmla="*/ 1526591024 h 270"/>
                <a:gd name="T76" fmla="*/ 590570127 w 209"/>
                <a:gd name="T77" fmla="*/ 1732885815 h 270"/>
                <a:gd name="T78" fmla="*/ 569970251 w 209"/>
                <a:gd name="T79" fmla="*/ 1774145298 h 270"/>
                <a:gd name="T80" fmla="*/ 466963009 w 209"/>
                <a:gd name="T81" fmla="*/ 1856664263 h 27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9"/>
                <a:gd name="T124" fmla="*/ 0 h 270"/>
                <a:gd name="T125" fmla="*/ 209 w 209"/>
                <a:gd name="T126" fmla="*/ 270 h 27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9" h="270">
                  <a:moveTo>
                    <a:pt x="68" y="270"/>
                  </a:moveTo>
                  <a:cubicBezTo>
                    <a:pt x="68" y="261"/>
                    <a:pt x="62" y="255"/>
                    <a:pt x="59" y="252"/>
                  </a:cubicBezTo>
                  <a:cubicBezTo>
                    <a:pt x="59" y="252"/>
                    <a:pt x="59" y="252"/>
                    <a:pt x="59" y="252"/>
                  </a:cubicBezTo>
                  <a:cubicBezTo>
                    <a:pt x="51" y="237"/>
                    <a:pt x="42" y="225"/>
                    <a:pt x="30" y="213"/>
                  </a:cubicBezTo>
                  <a:cubicBezTo>
                    <a:pt x="18" y="210"/>
                    <a:pt x="9" y="213"/>
                    <a:pt x="3" y="210"/>
                  </a:cubicBezTo>
                  <a:cubicBezTo>
                    <a:pt x="0" y="198"/>
                    <a:pt x="3" y="192"/>
                    <a:pt x="6" y="180"/>
                  </a:cubicBezTo>
                  <a:cubicBezTo>
                    <a:pt x="9" y="171"/>
                    <a:pt x="6" y="162"/>
                    <a:pt x="6" y="156"/>
                  </a:cubicBezTo>
                  <a:cubicBezTo>
                    <a:pt x="12" y="147"/>
                    <a:pt x="18" y="141"/>
                    <a:pt x="21" y="135"/>
                  </a:cubicBezTo>
                  <a:cubicBezTo>
                    <a:pt x="21" y="132"/>
                    <a:pt x="24" y="129"/>
                    <a:pt x="24" y="123"/>
                  </a:cubicBezTo>
                  <a:cubicBezTo>
                    <a:pt x="24" y="114"/>
                    <a:pt x="21" y="102"/>
                    <a:pt x="27" y="96"/>
                  </a:cubicBezTo>
                  <a:cubicBezTo>
                    <a:pt x="30" y="93"/>
                    <a:pt x="36" y="90"/>
                    <a:pt x="39" y="87"/>
                  </a:cubicBezTo>
                  <a:cubicBezTo>
                    <a:pt x="42" y="84"/>
                    <a:pt x="45" y="81"/>
                    <a:pt x="48" y="78"/>
                  </a:cubicBezTo>
                  <a:cubicBezTo>
                    <a:pt x="51" y="75"/>
                    <a:pt x="51" y="72"/>
                    <a:pt x="53" y="69"/>
                  </a:cubicBezTo>
                  <a:cubicBezTo>
                    <a:pt x="53" y="66"/>
                    <a:pt x="53" y="63"/>
                    <a:pt x="53" y="60"/>
                  </a:cubicBezTo>
                  <a:cubicBezTo>
                    <a:pt x="45" y="42"/>
                    <a:pt x="48" y="39"/>
                    <a:pt x="62" y="33"/>
                  </a:cubicBezTo>
                  <a:cubicBezTo>
                    <a:pt x="71" y="30"/>
                    <a:pt x="77" y="30"/>
                    <a:pt x="86" y="24"/>
                  </a:cubicBezTo>
                  <a:cubicBezTo>
                    <a:pt x="95" y="21"/>
                    <a:pt x="101" y="9"/>
                    <a:pt x="104" y="3"/>
                  </a:cubicBezTo>
                  <a:cubicBezTo>
                    <a:pt x="107" y="0"/>
                    <a:pt x="110" y="0"/>
                    <a:pt x="116" y="6"/>
                  </a:cubicBezTo>
                  <a:cubicBezTo>
                    <a:pt x="122" y="18"/>
                    <a:pt x="122" y="39"/>
                    <a:pt x="140" y="48"/>
                  </a:cubicBezTo>
                  <a:cubicBezTo>
                    <a:pt x="149" y="51"/>
                    <a:pt x="161" y="51"/>
                    <a:pt x="170" y="51"/>
                  </a:cubicBezTo>
                  <a:cubicBezTo>
                    <a:pt x="176" y="45"/>
                    <a:pt x="191" y="45"/>
                    <a:pt x="203" y="45"/>
                  </a:cubicBezTo>
                  <a:cubicBezTo>
                    <a:pt x="206" y="45"/>
                    <a:pt x="206" y="45"/>
                    <a:pt x="209" y="45"/>
                  </a:cubicBezTo>
                  <a:cubicBezTo>
                    <a:pt x="203" y="51"/>
                    <a:pt x="197" y="54"/>
                    <a:pt x="194" y="63"/>
                  </a:cubicBezTo>
                  <a:cubicBezTo>
                    <a:pt x="194" y="69"/>
                    <a:pt x="194" y="75"/>
                    <a:pt x="194" y="78"/>
                  </a:cubicBezTo>
                  <a:cubicBezTo>
                    <a:pt x="179" y="78"/>
                    <a:pt x="161" y="75"/>
                    <a:pt x="164" y="90"/>
                  </a:cubicBezTo>
                  <a:cubicBezTo>
                    <a:pt x="170" y="93"/>
                    <a:pt x="173" y="96"/>
                    <a:pt x="176" y="102"/>
                  </a:cubicBezTo>
                  <a:cubicBezTo>
                    <a:pt x="179" y="102"/>
                    <a:pt x="182" y="105"/>
                    <a:pt x="182" y="105"/>
                  </a:cubicBezTo>
                  <a:cubicBezTo>
                    <a:pt x="182" y="108"/>
                    <a:pt x="179" y="111"/>
                    <a:pt x="176" y="111"/>
                  </a:cubicBezTo>
                  <a:cubicBezTo>
                    <a:pt x="176" y="123"/>
                    <a:pt x="167" y="138"/>
                    <a:pt x="173" y="150"/>
                  </a:cubicBezTo>
                  <a:cubicBezTo>
                    <a:pt x="176" y="150"/>
                    <a:pt x="176" y="153"/>
                    <a:pt x="179" y="153"/>
                  </a:cubicBezTo>
                  <a:cubicBezTo>
                    <a:pt x="179" y="156"/>
                    <a:pt x="179" y="156"/>
                    <a:pt x="179" y="156"/>
                  </a:cubicBezTo>
                  <a:cubicBezTo>
                    <a:pt x="176" y="153"/>
                    <a:pt x="176" y="153"/>
                    <a:pt x="176" y="153"/>
                  </a:cubicBezTo>
                  <a:cubicBezTo>
                    <a:pt x="173" y="153"/>
                    <a:pt x="167" y="153"/>
                    <a:pt x="161" y="156"/>
                  </a:cubicBezTo>
                  <a:cubicBezTo>
                    <a:pt x="158" y="159"/>
                    <a:pt x="161" y="159"/>
                    <a:pt x="161" y="168"/>
                  </a:cubicBezTo>
                  <a:cubicBezTo>
                    <a:pt x="146" y="180"/>
                    <a:pt x="149" y="174"/>
                    <a:pt x="146" y="195"/>
                  </a:cubicBezTo>
                  <a:cubicBezTo>
                    <a:pt x="143" y="198"/>
                    <a:pt x="137" y="201"/>
                    <a:pt x="134" y="204"/>
                  </a:cubicBezTo>
                  <a:cubicBezTo>
                    <a:pt x="128" y="204"/>
                    <a:pt x="122" y="207"/>
                    <a:pt x="119" y="207"/>
                  </a:cubicBezTo>
                  <a:cubicBezTo>
                    <a:pt x="113" y="210"/>
                    <a:pt x="113" y="216"/>
                    <a:pt x="122" y="222"/>
                  </a:cubicBezTo>
                  <a:cubicBezTo>
                    <a:pt x="104" y="225"/>
                    <a:pt x="95" y="240"/>
                    <a:pt x="86" y="252"/>
                  </a:cubicBezTo>
                  <a:cubicBezTo>
                    <a:pt x="86" y="252"/>
                    <a:pt x="86" y="255"/>
                    <a:pt x="83" y="258"/>
                  </a:cubicBezTo>
                  <a:cubicBezTo>
                    <a:pt x="80" y="264"/>
                    <a:pt x="74" y="267"/>
                    <a:pt x="68" y="270"/>
                  </a:cubicBezTo>
                  <a:close/>
                </a:path>
              </a:pathLst>
            </a:custGeom>
            <a:solidFill>
              <a:srgbClr val="FF0000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19" name="Freeform 24"/>
            <p:cNvSpPr>
              <a:spLocks/>
            </p:cNvSpPr>
            <p:nvPr/>
          </p:nvSpPr>
          <p:spPr bwMode="auto">
            <a:xfrm>
              <a:off x="6963386" y="4447622"/>
              <a:ext cx="634483" cy="700887"/>
            </a:xfrm>
            <a:custGeom>
              <a:avLst/>
              <a:gdLst>
                <a:gd name="T0" fmla="*/ 1130871309 w 266"/>
                <a:gd name="T1" fmla="*/ 2147483647 h 324"/>
                <a:gd name="T2" fmla="*/ 965379404 w 266"/>
                <a:gd name="T3" fmla="*/ 2147483647 h 324"/>
                <a:gd name="T4" fmla="*/ 930900830 w 266"/>
                <a:gd name="T5" fmla="*/ 2147483647 h 324"/>
                <a:gd name="T6" fmla="*/ 806780588 w 266"/>
                <a:gd name="T7" fmla="*/ 2069131306 h 324"/>
                <a:gd name="T8" fmla="*/ 806780588 w 266"/>
                <a:gd name="T9" fmla="*/ 2027749744 h 324"/>
                <a:gd name="T10" fmla="*/ 910213685 w 266"/>
                <a:gd name="T11" fmla="*/ 1779455116 h 324"/>
                <a:gd name="T12" fmla="*/ 806780588 w 266"/>
                <a:gd name="T13" fmla="*/ 1613923614 h 324"/>
                <a:gd name="T14" fmla="*/ 703347490 w 266"/>
                <a:gd name="T15" fmla="*/ 1572539425 h 324"/>
                <a:gd name="T16" fmla="*/ 579227084 w 266"/>
                <a:gd name="T17" fmla="*/ 1593231519 h 324"/>
                <a:gd name="T18" fmla="*/ 455106842 w 266"/>
                <a:gd name="T19" fmla="*/ 1696689365 h 324"/>
                <a:gd name="T20" fmla="*/ 330986519 w 266"/>
                <a:gd name="T21" fmla="*/ 1717378833 h 324"/>
                <a:gd name="T22" fmla="*/ 227553421 w 266"/>
                <a:gd name="T23" fmla="*/ 1551849957 h 324"/>
                <a:gd name="T24" fmla="*/ 206866277 w 266"/>
                <a:gd name="T25" fmla="*/ 1531157862 h 324"/>
                <a:gd name="T26" fmla="*/ 206866277 w 266"/>
                <a:gd name="T27" fmla="*/ 1241478718 h 324"/>
                <a:gd name="T28" fmla="*/ 0 w 266"/>
                <a:gd name="T29" fmla="*/ 1282862907 h 324"/>
                <a:gd name="T30" fmla="*/ 103433138 w 266"/>
                <a:gd name="T31" fmla="*/ 1179405061 h 324"/>
                <a:gd name="T32" fmla="*/ 206866277 w 266"/>
                <a:gd name="T33" fmla="*/ 1013873559 h 324"/>
                <a:gd name="T34" fmla="*/ 165494572 w 266"/>
                <a:gd name="T35" fmla="*/ 806960494 h 324"/>
                <a:gd name="T36" fmla="*/ 144807428 w 266"/>
                <a:gd name="T37" fmla="*/ 558665702 h 324"/>
                <a:gd name="T38" fmla="*/ 124120283 w 266"/>
                <a:gd name="T39" fmla="*/ 475899951 h 324"/>
                <a:gd name="T40" fmla="*/ 268927711 w 266"/>
                <a:gd name="T41" fmla="*/ 289678898 h 324"/>
                <a:gd name="T42" fmla="*/ 475793987 w 266"/>
                <a:gd name="T43" fmla="*/ 227605241 h 324"/>
                <a:gd name="T44" fmla="*/ 579227084 w 266"/>
                <a:gd name="T45" fmla="*/ 186221053 h 324"/>
                <a:gd name="T46" fmla="*/ 517165650 w 266"/>
                <a:gd name="T47" fmla="*/ 62073677 h 324"/>
                <a:gd name="T48" fmla="*/ 724034635 w 266"/>
                <a:gd name="T49" fmla="*/ 82765772 h 324"/>
                <a:gd name="T50" fmla="*/ 827467732 w 266"/>
                <a:gd name="T51" fmla="*/ 82765772 h 324"/>
                <a:gd name="T52" fmla="*/ 1068812501 w 266"/>
                <a:gd name="T53" fmla="*/ 227605241 h 324"/>
                <a:gd name="T54" fmla="*/ 1172245599 w 266"/>
                <a:gd name="T55" fmla="*/ 268986804 h 324"/>
                <a:gd name="T56" fmla="*/ 1275678696 w 266"/>
                <a:gd name="T57" fmla="*/ 268986804 h 324"/>
                <a:gd name="T58" fmla="*/ 1337737504 w 266"/>
                <a:gd name="T59" fmla="*/ 186221053 h 324"/>
                <a:gd name="T60" fmla="*/ 1482545219 w 266"/>
                <a:gd name="T61" fmla="*/ 289678898 h 324"/>
                <a:gd name="T62" fmla="*/ 1544604027 w 266"/>
                <a:gd name="T63" fmla="*/ 310370993 h 324"/>
                <a:gd name="T64" fmla="*/ 1772159992 w 266"/>
                <a:gd name="T65" fmla="*/ 496592045 h 324"/>
                <a:gd name="T66" fmla="*/ 1772159992 w 266"/>
                <a:gd name="T67" fmla="*/ 765578931 h 324"/>
                <a:gd name="T68" fmla="*/ 1689411413 w 266"/>
                <a:gd name="T69" fmla="*/ 1138023499 h 324"/>
                <a:gd name="T70" fmla="*/ 1710098558 w 266"/>
                <a:gd name="T71" fmla="*/ 1200097155 h 324"/>
                <a:gd name="T72" fmla="*/ 1792844510 w 266"/>
                <a:gd name="T73" fmla="*/ 1469084206 h 324"/>
                <a:gd name="T74" fmla="*/ 1813531655 w 266"/>
                <a:gd name="T75" fmla="*/ 1655305176 h 324"/>
                <a:gd name="T76" fmla="*/ 1834218800 w 266"/>
                <a:gd name="T77" fmla="*/ 1882910335 h 324"/>
                <a:gd name="T78" fmla="*/ 1461858074 w 266"/>
                <a:gd name="T79" fmla="*/ 1882910335 h 324"/>
                <a:gd name="T80" fmla="*/ 1523919508 w 266"/>
                <a:gd name="T81" fmla="*/ 2027749744 h 324"/>
                <a:gd name="T82" fmla="*/ 1503232363 w 266"/>
                <a:gd name="T83" fmla="*/ 2089823400 h 324"/>
                <a:gd name="T84" fmla="*/ 1379112121 w 266"/>
                <a:gd name="T85" fmla="*/ 1986368181 h 324"/>
                <a:gd name="T86" fmla="*/ 1254991551 w 266"/>
                <a:gd name="T87" fmla="*/ 1986368181 h 324"/>
                <a:gd name="T88" fmla="*/ 1192932743 w 266"/>
                <a:gd name="T89" fmla="*/ 2089823400 h 324"/>
                <a:gd name="T90" fmla="*/ 1130871309 w 266"/>
                <a:gd name="T91" fmla="*/ 2147483647 h 32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66"/>
                <a:gd name="T139" fmla="*/ 0 h 324"/>
                <a:gd name="T140" fmla="*/ 266 w 266"/>
                <a:gd name="T141" fmla="*/ 324 h 32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66" h="324">
                  <a:moveTo>
                    <a:pt x="164" y="324"/>
                  </a:moveTo>
                  <a:cubicBezTo>
                    <a:pt x="155" y="315"/>
                    <a:pt x="146" y="321"/>
                    <a:pt x="140" y="321"/>
                  </a:cubicBezTo>
                  <a:cubicBezTo>
                    <a:pt x="138" y="321"/>
                    <a:pt x="138" y="318"/>
                    <a:pt x="135" y="315"/>
                  </a:cubicBezTo>
                  <a:cubicBezTo>
                    <a:pt x="135" y="297"/>
                    <a:pt x="123" y="300"/>
                    <a:pt x="117" y="300"/>
                  </a:cubicBezTo>
                  <a:cubicBezTo>
                    <a:pt x="117" y="300"/>
                    <a:pt x="117" y="297"/>
                    <a:pt x="117" y="294"/>
                  </a:cubicBezTo>
                  <a:cubicBezTo>
                    <a:pt x="123" y="282"/>
                    <a:pt x="132" y="270"/>
                    <a:pt x="132" y="258"/>
                  </a:cubicBezTo>
                  <a:cubicBezTo>
                    <a:pt x="126" y="249"/>
                    <a:pt x="117" y="243"/>
                    <a:pt x="117" y="234"/>
                  </a:cubicBezTo>
                  <a:cubicBezTo>
                    <a:pt x="111" y="225"/>
                    <a:pt x="108" y="228"/>
                    <a:pt x="102" y="228"/>
                  </a:cubicBezTo>
                  <a:cubicBezTo>
                    <a:pt x="96" y="231"/>
                    <a:pt x="90" y="231"/>
                    <a:pt x="84" y="231"/>
                  </a:cubicBezTo>
                  <a:cubicBezTo>
                    <a:pt x="78" y="240"/>
                    <a:pt x="72" y="243"/>
                    <a:pt x="66" y="246"/>
                  </a:cubicBezTo>
                  <a:cubicBezTo>
                    <a:pt x="60" y="246"/>
                    <a:pt x="54" y="249"/>
                    <a:pt x="48" y="249"/>
                  </a:cubicBezTo>
                  <a:cubicBezTo>
                    <a:pt x="48" y="234"/>
                    <a:pt x="39" y="231"/>
                    <a:pt x="33" y="225"/>
                  </a:cubicBezTo>
                  <a:cubicBezTo>
                    <a:pt x="30" y="222"/>
                    <a:pt x="30" y="222"/>
                    <a:pt x="30" y="222"/>
                  </a:cubicBezTo>
                  <a:cubicBezTo>
                    <a:pt x="30" y="207"/>
                    <a:pt x="30" y="195"/>
                    <a:pt x="30" y="180"/>
                  </a:cubicBezTo>
                  <a:cubicBezTo>
                    <a:pt x="18" y="180"/>
                    <a:pt x="9" y="183"/>
                    <a:pt x="0" y="186"/>
                  </a:cubicBezTo>
                  <a:cubicBezTo>
                    <a:pt x="0" y="171"/>
                    <a:pt x="3" y="174"/>
                    <a:pt x="15" y="171"/>
                  </a:cubicBezTo>
                  <a:cubicBezTo>
                    <a:pt x="24" y="168"/>
                    <a:pt x="30" y="156"/>
                    <a:pt x="30" y="147"/>
                  </a:cubicBezTo>
                  <a:cubicBezTo>
                    <a:pt x="27" y="135"/>
                    <a:pt x="24" y="126"/>
                    <a:pt x="24" y="117"/>
                  </a:cubicBezTo>
                  <a:cubicBezTo>
                    <a:pt x="21" y="105"/>
                    <a:pt x="21" y="93"/>
                    <a:pt x="21" y="81"/>
                  </a:cubicBezTo>
                  <a:cubicBezTo>
                    <a:pt x="21" y="78"/>
                    <a:pt x="21" y="72"/>
                    <a:pt x="18" y="69"/>
                  </a:cubicBezTo>
                  <a:cubicBezTo>
                    <a:pt x="30" y="63"/>
                    <a:pt x="36" y="54"/>
                    <a:pt x="39" y="42"/>
                  </a:cubicBezTo>
                  <a:cubicBezTo>
                    <a:pt x="48" y="36"/>
                    <a:pt x="57" y="30"/>
                    <a:pt x="69" y="33"/>
                  </a:cubicBezTo>
                  <a:cubicBezTo>
                    <a:pt x="75" y="33"/>
                    <a:pt x="81" y="33"/>
                    <a:pt x="84" y="27"/>
                  </a:cubicBezTo>
                  <a:cubicBezTo>
                    <a:pt x="84" y="15"/>
                    <a:pt x="81" y="12"/>
                    <a:pt x="75" y="9"/>
                  </a:cubicBezTo>
                  <a:cubicBezTo>
                    <a:pt x="78" y="0"/>
                    <a:pt x="93" y="6"/>
                    <a:pt x="105" y="12"/>
                  </a:cubicBezTo>
                  <a:cubicBezTo>
                    <a:pt x="108" y="12"/>
                    <a:pt x="114" y="12"/>
                    <a:pt x="120" y="12"/>
                  </a:cubicBezTo>
                  <a:cubicBezTo>
                    <a:pt x="129" y="18"/>
                    <a:pt x="143" y="24"/>
                    <a:pt x="155" y="33"/>
                  </a:cubicBezTo>
                  <a:cubicBezTo>
                    <a:pt x="158" y="33"/>
                    <a:pt x="164" y="36"/>
                    <a:pt x="170" y="39"/>
                  </a:cubicBezTo>
                  <a:cubicBezTo>
                    <a:pt x="173" y="39"/>
                    <a:pt x="179" y="39"/>
                    <a:pt x="185" y="39"/>
                  </a:cubicBezTo>
                  <a:cubicBezTo>
                    <a:pt x="188" y="33"/>
                    <a:pt x="191" y="30"/>
                    <a:pt x="194" y="27"/>
                  </a:cubicBezTo>
                  <a:cubicBezTo>
                    <a:pt x="200" y="27"/>
                    <a:pt x="206" y="30"/>
                    <a:pt x="215" y="42"/>
                  </a:cubicBezTo>
                  <a:cubicBezTo>
                    <a:pt x="218" y="42"/>
                    <a:pt x="221" y="45"/>
                    <a:pt x="224" y="45"/>
                  </a:cubicBezTo>
                  <a:cubicBezTo>
                    <a:pt x="233" y="48"/>
                    <a:pt x="245" y="60"/>
                    <a:pt x="257" y="72"/>
                  </a:cubicBezTo>
                  <a:cubicBezTo>
                    <a:pt x="260" y="84"/>
                    <a:pt x="263" y="96"/>
                    <a:pt x="257" y="111"/>
                  </a:cubicBezTo>
                  <a:cubicBezTo>
                    <a:pt x="239" y="129"/>
                    <a:pt x="230" y="138"/>
                    <a:pt x="245" y="165"/>
                  </a:cubicBezTo>
                  <a:cubicBezTo>
                    <a:pt x="245" y="168"/>
                    <a:pt x="248" y="171"/>
                    <a:pt x="248" y="174"/>
                  </a:cubicBezTo>
                  <a:cubicBezTo>
                    <a:pt x="251" y="177"/>
                    <a:pt x="257" y="201"/>
                    <a:pt x="260" y="213"/>
                  </a:cubicBezTo>
                  <a:cubicBezTo>
                    <a:pt x="266" y="222"/>
                    <a:pt x="266" y="228"/>
                    <a:pt x="263" y="240"/>
                  </a:cubicBezTo>
                  <a:cubicBezTo>
                    <a:pt x="263" y="249"/>
                    <a:pt x="263" y="258"/>
                    <a:pt x="266" y="273"/>
                  </a:cubicBezTo>
                  <a:cubicBezTo>
                    <a:pt x="248" y="273"/>
                    <a:pt x="230" y="273"/>
                    <a:pt x="212" y="273"/>
                  </a:cubicBezTo>
                  <a:cubicBezTo>
                    <a:pt x="206" y="279"/>
                    <a:pt x="215" y="288"/>
                    <a:pt x="221" y="294"/>
                  </a:cubicBezTo>
                  <a:cubicBezTo>
                    <a:pt x="221" y="297"/>
                    <a:pt x="218" y="300"/>
                    <a:pt x="218" y="303"/>
                  </a:cubicBezTo>
                  <a:cubicBezTo>
                    <a:pt x="212" y="303"/>
                    <a:pt x="200" y="288"/>
                    <a:pt x="200" y="288"/>
                  </a:cubicBezTo>
                  <a:cubicBezTo>
                    <a:pt x="194" y="288"/>
                    <a:pt x="188" y="288"/>
                    <a:pt x="182" y="288"/>
                  </a:cubicBezTo>
                  <a:cubicBezTo>
                    <a:pt x="179" y="291"/>
                    <a:pt x="176" y="297"/>
                    <a:pt x="173" y="303"/>
                  </a:cubicBezTo>
                  <a:cubicBezTo>
                    <a:pt x="173" y="306"/>
                    <a:pt x="173" y="318"/>
                    <a:pt x="164" y="324"/>
                  </a:cubicBezTo>
                  <a:close/>
                </a:path>
              </a:pathLst>
            </a:custGeom>
            <a:solidFill>
              <a:schemeClr val="accent3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0" name="Freeform 27"/>
            <p:cNvSpPr>
              <a:spLocks/>
            </p:cNvSpPr>
            <p:nvPr/>
          </p:nvSpPr>
          <p:spPr bwMode="auto">
            <a:xfrm>
              <a:off x="7127775" y="3661739"/>
              <a:ext cx="663323" cy="584509"/>
            </a:xfrm>
            <a:custGeom>
              <a:avLst/>
              <a:gdLst>
                <a:gd name="T0" fmla="*/ 1649117203 w 278"/>
                <a:gd name="T1" fmla="*/ 1865002072 h 270"/>
                <a:gd name="T2" fmla="*/ 1483516014 w 278"/>
                <a:gd name="T3" fmla="*/ 1844278754 h 270"/>
                <a:gd name="T4" fmla="*/ 1359312824 w 278"/>
                <a:gd name="T5" fmla="*/ 1782114055 h 270"/>
                <a:gd name="T6" fmla="*/ 1131611518 w 278"/>
                <a:gd name="T7" fmla="*/ 1740667418 h 270"/>
                <a:gd name="T8" fmla="*/ 1069511400 w 278"/>
                <a:gd name="T9" fmla="*/ 1637056082 h 270"/>
                <a:gd name="T10" fmla="*/ 966010329 w 278"/>
                <a:gd name="T11" fmla="*/ 1574891383 h 270"/>
                <a:gd name="T12" fmla="*/ 552005879 w 278"/>
                <a:gd name="T13" fmla="*/ 1554168065 h 270"/>
                <a:gd name="T14" fmla="*/ 289804133 w 278"/>
                <a:gd name="T15" fmla="*/ 1429836039 h 270"/>
                <a:gd name="T16" fmla="*/ 207002225 w 278"/>
                <a:gd name="T17" fmla="*/ 1346945065 h 270"/>
                <a:gd name="T18" fmla="*/ 62100138 w 278"/>
                <a:gd name="T19" fmla="*/ 1015390368 h 270"/>
                <a:gd name="T20" fmla="*/ 0 w 278"/>
                <a:gd name="T21" fmla="*/ 849611705 h 270"/>
                <a:gd name="T22" fmla="*/ 0 w 278"/>
                <a:gd name="T23" fmla="*/ 725279679 h 270"/>
                <a:gd name="T24" fmla="*/ 165601230 w 278"/>
                <a:gd name="T25" fmla="*/ 621668179 h 270"/>
                <a:gd name="T26" fmla="*/ 227701389 w 278"/>
                <a:gd name="T27" fmla="*/ 600944860 h 270"/>
                <a:gd name="T28" fmla="*/ 476104568 w 278"/>
                <a:gd name="T29" fmla="*/ 497333525 h 270"/>
                <a:gd name="T30" fmla="*/ 696908068 w 278"/>
                <a:gd name="T31" fmla="*/ 435166197 h 270"/>
                <a:gd name="T32" fmla="*/ 883208421 w 278"/>
                <a:gd name="T33" fmla="*/ 290110771 h 270"/>
                <a:gd name="T34" fmla="*/ 966010329 w 278"/>
                <a:gd name="T35" fmla="*/ 0 h 270"/>
                <a:gd name="T36" fmla="*/ 1152310681 w 278"/>
                <a:gd name="T37" fmla="*/ 41444019 h 270"/>
                <a:gd name="T38" fmla="*/ 1421413270 w 278"/>
                <a:gd name="T39" fmla="*/ 41444019 h 270"/>
                <a:gd name="T40" fmla="*/ 1462814224 w 278"/>
                <a:gd name="T41" fmla="*/ 103611377 h 270"/>
                <a:gd name="T42" fmla="*/ 1504215178 w 278"/>
                <a:gd name="T43" fmla="*/ 290110771 h 270"/>
                <a:gd name="T44" fmla="*/ 1400714106 w 278"/>
                <a:gd name="T45" fmla="*/ 414445507 h 270"/>
                <a:gd name="T46" fmla="*/ 1359312824 w 278"/>
                <a:gd name="T47" fmla="*/ 435166197 h 270"/>
                <a:gd name="T48" fmla="*/ 1359312824 w 278"/>
                <a:gd name="T49" fmla="*/ 455889516 h 270"/>
                <a:gd name="T50" fmla="*/ 1483516014 w 278"/>
                <a:gd name="T51" fmla="*/ 538777533 h 270"/>
                <a:gd name="T52" fmla="*/ 1483516014 w 278"/>
                <a:gd name="T53" fmla="*/ 559500852 h 270"/>
                <a:gd name="T54" fmla="*/ 1752618275 w 278"/>
                <a:gd name="T55" fmla="*/ 642388869 h 270"/>
                <a:gd name="T56" fmla="*/ 1814718392 w 278"/>
                <a:gd name="T57" fmla="*/ 704556360 h 270"/>
                <a:gd name="T58" fmla="*/ 1918219464 w 278"/>
                <a:gd name="T59" fmla="*/ 787444378 h 270"/>
                <a:gd name="T60" fmla="*/ 1918219464 w 278"/>
                <a:gd name="T61" fmla="*/ 808167696 h 270"/>
                <a:gd name="T62" fmla="*/ 1856119346 w 278"/>
                <a:gd name="T63" fmla="*/ 973946359 h 270"/>
                <a:gd name="T64" fmla="*/ 1814718392 w 278"/>
                <a:gd name="T65" fmla="*/ 953223040 h 270"/>
                <a:gd name="T66" fmla="*/ 1628415413 w 278"/>
                <a:gd name="T67" fmla="*/ 808167696 h 270"/>
                <a:gd name="T68" fmla="*/ 1628415413 w 278"/>
                <a:gd name="T69" fmla="*/ 1056834376 h 270"/>
                <a:gd name="T70" fmla="*/ 1462814224 w 278"/>
                <a:gd name="T71" fmla="*/ 1222613039 h 270"/>
                <a:gd name="T72" fmla="*/ 1462814224 w 278"/>
                <a:gd name="T73" fmla="*/ 1305501056 h 270"/>
                <a:gd name="T74" fmla="*/ 1545616132 w 278"/>
                <a:gd name="T75" fmla="*/ 1367668383 h 270"/>
                <a:gd name="T76" fmla="*/ 1566315295 w 278"/>
                <a:gd name="T77" fmla="*/ 1492000738 h 270"/>
                <a:gd name="T78" fmla="*/ 1669816367 w 278"/>
                <a:gd name="T79" fmla="*/ 1533444747 h 270"/>
                <a:gd name="T80" fmla="*/ 1752618275 w 278"/>
                <a:gd name="T81" fmla="*/ 1512724056 h 270"/>
                <a:gd name="T82" fmla="*/ 1794019229 w 278"/>
                <a:gd name="T83" fmla="*/ 1740667418 h 270"/>
                <a:gd name="T84" fmla="*/ 1690518157 w 278"/>
                <a:gd name="T85" fmla="*/ 1802834745 h 270"/>
                <a:gd name="T86" fmla="*/ 1649117203 w 278"/>
                <a:gd name="T87" fmla="*/ 1865002072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78"/>
                <a:gd name="T133" fmla="*/ 0 h 270"/>
                <a:gd name="T134" fmla="*/ 278 w 278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78" h="270">
                  <a:moveTo>
                    <a:pt x="239" y="270"/>
                  </a:moveTo>
                  <a:cubicBezTo>
                    <a:pt x="230" y="270"/>
                    <a:pt x="224" y="270"/>
                    <a:pt x="215" y="267"/>
                  </a:cubicBezTo>
                  <a:cubicBezTo>
                    <a:pt x="209" y="264"/>
                    <a:pt x="203" y="261"/>
                    <a:pt x="197" y="258"/>
                  </a:cubicBezTo>
                  <a:cubicBezTo>
                    <a:pt x="179" y="258"/>
                    <a:pt x="173" y="258"/>
                    <a:pt x="164" y="252"/>
                  </a:cubicBezTo>
                  <a:cubicBezTo>
                    <a:pt x="161" y="246"/>
                    <a:pt x="158" y="243"/>
                    <a:pt x="155" y="237"/>
                  </a:cubicBezTo>
                  <a:cubicBezTo>
                    <a:pt x="149" y="234"/>
                    <a:pt x="146" y="231"/>
                    <a:pt x="140" y="228"/>
                  </a:cubicBezTo>
                  <a:cubicBezTo>
                    <a:pt x="119" y="228"/>
                    <a:pt x="98" y="228"/>
                    <a:pt x="80" y="225"/>
                  </a:cubicBezTo>
                  <a:cubicBezTo>
                    <a:pt x="66" y="222"/>
                    <a:pt x="45" y="213"/>
                    <a:pt x="42" y="207"/>
                  </a:cubicBezTo>
                  <a:cubicBezTo>
                    <a:pt x="33" y="201"/>
                    <a:pt x="33" y="198"/>
                    <a:pt x="30" y="195"/>
                  </a:cubicBezTo>
                  <a:cubicBezTo>
                    <a:pt x="27" y="171"/>
                    <a:pt x="15" y="159"/>
                    <a:pt x="9" y="147"/>
                  </a:cubicBezTo>
                  <a:cubicBezTo>
                    <a:pt x="6" y="138"/>
                    <a:pt x="3" y="132"/>
                    <a:pt x="0" y="123"/>
                  </a:cubicBezTo>
                  <a:cubicBezTo>
                    <a:pt x="0" y="117"/>
                    <a:pt x="0" y="111"/>
                    <a:pt x="0" y="105"/>
                  </a:cubicBezTo>
                  <a:cubicBezTo>
                    <a:pt x="9" y="105"/>
                    <a:pt x="18" y="96"/>
                    <a:pt x="24" y="90"/>
                  </a:cubicBezTo>
                  <a:cubicBezTo>
                    <a:pt x="27" y="90"/>
                    <a:pt x="30" y="87"/>
                    <a:pt x="33" y="87"/>
                  </a:cubicBezTo>
                  <a:cubicBezTo>
                    <a:pt x="45" y="87"/>
                    <a:pt x="57" y="81"/>
                    <a:pt x="69" y="72"/>
                  </a:cubicBezTo>
                  <a:cubicBezTo>
                    <a:pt x="77" y="72"/>
                    <a:pt x="89" y="66"/>
                    <a:pt x="101" y="63"/>
                  </a:cubicBezTo>
                  <a:cubicBezTo>
                    <a:pt x="113" y="57"/>
                    <a:pt x="119" y="51"/>
                    <a:pt x="128" y="42"/>
                  </a:cubicBezTo>
                  <a:cubicBezTo>
                    <a:pt x="140" y="33"/>
                    <a:pt x="140" y="12"/>
                    <a:pt x="140" y="0"/>
                  </a:cubicBezTo>
                  <a:cubicBezTo>
                    <a:pt x="149" y="3"/>
                    <a:pt x="158" y="3"/>
                    <a:pt x="167" y="6"/>
                  </a:cubicBezTo>
                  <a:cubicBezTo>
                    <a:pt x="179" y="6"/>
                    <a:pt x="194" y="6"/>
                    <a:pt x="206" y="6"/>
                  </a:cubicBezTo>
                  <a:cubicBezTo>
                    <a:pt x="209" y="9"/>
                    <a:pt x="209" y="12"/>
                    <a:pt x="212" y="15"/>
                  </a:cubicBezTo>
                  <a:cubicBezTo>
                    <a:pt x="218" y="18"/>
                    <a:pt x="224" y="30"/>
                    <a:pt x="218" y="42"/>
                  </a:cubicBezTo>
                  <a:cubicBezTo>
                    <a:pt x="209" y="45"/>
                    <a:pt x="203" y="48"/>
                    <a:pt x="203" y="60"/>
                  </a:cubicBezTo>
                  <a:cubicBezTo>
                    <a:pt x="200" y="60"/>
                    <a:pt x="197" y="60"/>
                    <a:pt x="197" y="63"/>
                  </a:cubicBezTo>
                  <a:cubicBezTo>
                    <a:pt x="197" y="63"/>
                    <a:pt x="197" y="63"/>
                    <a:pt x="197" y="66"/>
                  </a:cubicBezTo>
                  <a:cubicBezTo>
                    <a:pt x="203" y="69"/>
                    <a:pt x="209" y="75"/>
                    <a:pt x="215" y="78"/>
                  </a:cubicBezTo>
                  <a:cubicBezTo>
                    <a:pt x="215" y="81"/>
                    <a:pt x="215" y="81"/>
                    <a:pt x="215" y="81"/>
                  </a:cubicBezTo>
                  <a:cubicBezTo>
                    <a:pt x="224" y="87"/>
                    <a:pt x="239" y="105"/>
                    <a:pt x="254" y="93"/>
                  </a:cubicBezTo>
                  <a:cubicBezTo>
                    <a:pt x="257" y="93"/>
                    <a:pt x="260" y="96"/>
                    <a:pt x="263" y="102"/>
                  </a:cubicBezTo>
                  <a:cubicBezTo>
                    <a:pt x="269" y="105"/>
                    <a:pt x="272" y="108"/>
                    <a:pt x="278" y="114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2" y="123"/>
                    <a:pt x="272" y="135"/>
                    <a:pt x="269" y="141"/>
                  </a:cubicBezTo>
                  <a:cubicBezTo>
                    <a:pt x="266" y="141"/>
                    <a:pt x="263" y="138"/>
                    <a:pt x="263" y="138"/>
                  </a:cubicBezTo>
                  <a:cubicBezTo>
                    <a:pt x="251" y="126"/>
                    <a:pt x="251" y="111"/>
                    <a:pt x="236" y="117"/>
                  </a:cubicBezTo>
                  <a:cubicBezTo>
                    <a:pt x="236" y="129"/>
                    <a:pt x="236" y="141"/>
                    <a:pt x="236" y="153"/>
                  </a:cubicBezTo>
                  <a:cubicBezTo>
                    <a:pt x="233" y="159"/>
                    <a:pt x="221" y="171"/>
                    <a:pt x="212" y="177"/>
                  </a:cubicBezTo>
                  <a:cubicBezTo>
                    <a:pt x="212" y="180"/>
                    <a:pt x="212" y="186"/>
                    <a:pt x="212" y="189"/>
                  </a:cubicBezTo>
                  <a:cubicBezTo>
                    <a:pt x="215" y="192"/>
                    <a:pt x="218" y="195"/>
                    <a:pt x="224" y="198"/>
                  </a:cubicBezTo>
                  <a:cubicBezTo>
                    <a:pt x="224" y="201"/>
                    <a:pt x="227" y="210"/>
                    <a:pt x="227" y="216"/>
                  </a:cubicBezTo>
                  <a:cubicBezTo>
                    <a:pt x="230" y="216"/>
                    <a:pt x="233" y="222"/>
                    <a:pt x="242" y="222"/>
                  </a:cubicBezTo>
                  <a:cubicBezTo>
                    <a:pt x="248" y="219"/>
                    <a:pt x="245" y="216"/>
                    <a:pt x="254" y="219"/>
                  </a:cubicBezTo>
                  <a:cubicBezTo>
                    <a:pt x="257" y="225"/>
                    <a:pt x="266" y="240"/>
                    <a:pt x="260" y="252"/>
                  </a:cubicBezTo>
                  <a:cubicBezTo>
                    <a:pt x="257" y="252"/>
                    <a:pt x="245" y="258"/>
                    <a:pt x="245" y="261"/>
                  </a:cubicBezTo>
                  <a:cubicBezTo>
                    <a:pt x="242" y="264"/>
                    <a:pt x="239" y="267"/>
                    <a:pt x="239" y="270"/>
                  </a:cubicBezTo>
                  <a:close/>
                </a:path>
              </a:pathLst>
            </a:custGeom>
            <a:solidFill>
              <a:srgbClr val="FF0000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1" name="Freeform 28"/>
            <p:cNvSpPr>
              <a:spLocks/>
            </p:cNvSpPr>
            <p:nvPr/>
          </p:nvSpPr>
          <p:spPr bwMode="auto">
            <a:xfrm>
              <a:off x="6905707" y="4084103"/>
              <a:ext cx="899813" cy="499512"/>
            </a:xfrm>
            <a:custGeom>
              <a:avLst/>
              <a:gdLst>
                <a:gd name="T0" fmla="*/ 289977774 w 377"/>
                <a:gd name="T1" fmla="*/ 1591997121 h 231"/>
                <a:gd name="T2" fmla="*/ 20713260 w 377"/>
                <a:gd name="T3" fmla="*/ 1302543129 h 231"/>
                <a:gd name="T4" fmla="*/ 20713260 w 377"/>
                <a:gd name="T5" fmla="*/ 1199167383 h 231"/>
                <a:gd name="T6" fmla="*/ 41426521 w 377"/>
                <a:gd name="T7" fmla="*/ 1116465211 h 231"/>
                <a:gd name="T8" fmla="*/ 0 w 377"/>
                <a:gd name="T9" fmla="*/ 1075115438 h 231"/>
                <a:gd name="T10" fmla="*/ 331401658 w 377"/>
                <a:gd name="T11" fmla="*/ 1033765664 h 231"/>
                <a:gd name="T12" fmla="*/ 538529038 w 377"/>
                <a:gd name="T13" fmla="*/ 909713719 h 231"/>
                <a:gd name="T14" fmla="*/ 621379432 w 377"/>
                <a:gd name="T15" fmla="*/ 847687746 h 231"/>
                <a:gd name="T16" fmla="*/ 621379432 w 377"/>
                <a:gd name="T17" fmla="*/ 764985574 h 231"/>
                <a:gd name="T18" fmla="*/ 372828250 w 377"/>
                <a:gd name="T19" fmla="*/ 537557719 h 231"/>
                <a:gd name="T20" fmla="*/ 352114995 w 377"/>
                <a:gd name="T21" fmla="*/ 496207946 h 231"/>
                <a:gd name="T22" fmla="*/ 352114995 w 377"/>
                <a:gd name="T23" fmla="*/ 330803520 h 231"/>
                <a:gd name="T24" fmla="*/ 476389272 w 377"/>
                <a:gd name="T25" fmla="*/ 227427773 h 231"/>
                <a:gd name="T26" fmla="*/ 476389272 w 377"/>
                <a:gd name="T27" fmla="*/ 62025993 h 231"/>
                <a:gd name="T28" fmla="*/ 372828250 w 377"/>
                <a:gd name="T29" fmla="*/ 0 h 231"/>
                <a:gd name="T30" fmla="*/ 683516570 w 377"/>
                <a:gd name="T31" fmla="*/ 0 h 231"/>
                <a:gd name="T32" fmla="*/ 807793639 w 377"/>
                <a:gd name="T33" fmla="*/ 20676204 h 231"/>
                <a:gd name="T34" fmla="*/ 1097768704 w 377"/>
                <a:gd name="T35" fmla="*/ 206751574 h 231"/>
                <a:gd name="T36" fmla="*/ 1173716431 w 377"/>
                <a:gd name="T37" fmla="*/ 248103973 h 231"/>
                <a:gd name="T38" fmla="*/ 1567255474 w 377"/>
                <a:gd name="T39" fmla="*/ 248103973 h 231"/>
                <a:gd name="T40" fmla="*/ 1712243006 w 377"/>
                <a:gd name="T41" fmla="*/ 330803520 h 231"/>
                <a:gd name="T42" fmla="*/ 1815806655 w 377"/>
                <a:gd name="T43" fmla="*/ 454855547 h 231"/>
                <a:gd name="T44" fmla="*/ 2002220698 w 377"/>
                <a:gd name="T45" fmla="*/ 475531746 h 231"/>
                <a:gd name="T46" fmla="*/ 2147208231 w 377"/>
                <a:gd name="T47" fmla="*/ 537557719 h 231"/>
                <a:gd name="T48" fmla="*/ 2147483647 w 377"/>
                <a:gd name="T49" fmla="*/ 578907492 h 231"/>
                <a:gd name="T50" fmla="*/ 2147483647 w 377"/>
                <a:gd name="T51" fmla="*/ 661609664 h 231"/>
                <a:gd name="T52" fmla="*/ 2147483647 w 377"/>
                <a:gd name="T53" fmla="*/ 723635801 h 231"/>
                <a:gd name="T54" fmla="*/ 2147483647 w 377"/>
                <a:gd name="T55" fmla="*/ 847687746 h 231"/>
                <a:gd name="T56" fmla="*/ 2147483647 w 377"/>
                <a:gd name="T57" fmla="*/ 992413266 h 231"/>
                <a:gd name="T58" fmla="*/ 2147483647 w 377"/>
                <a:gd name="T59" fmla="*/ 1137141410 h 231"/>
                <a:gd name="T60" fmla="*/ 2147483647 w 377"/>
                <a:gd name="T61" fmla="*/ 1157814985 h 231"/>
                <a:gd name="T62" fmla="*/ 2147483647 w 377"/>
                <a:gd name="T63" fmla="*/ 1343892903 h 231"/>
                <a:gd name="T64" fmla="*/ 2126497603 w 377"/>
                <a:gd name="T65" fmla="*/ 1426595403 h 231"/>
                <a:gd name="T66" fmla="*/ 1919370304 w 377"/>
                <a:gd name="T67" fmla="*/ 1529971149 h 231"/>
                <a:gd name="T68" fmla="*/ 1877946421 w 377"/>
                <a:gd name="T69" fmla="*/ 1550647348 h 231"/>
                <a:gd name="T70" fmla="*/ 1774382772 w 377"/>
                <a:gd name="T71" fmla="*/ 1447268977 h 231"/>
                <a:gd name="T72" fmla="*/ 1546542218 w 377"/>
                <a:gd name="T73" fmla="*/ 1302543129 h 231"/>
                <a:gd name="T74" fmla="*/ 1422267941 w 377"/>
                <a:gd name="T75" fmla="*/ 1385245629 h 231"/>
                <a:gd name="T76" fmla="*/ 994205055 w 377"/>
                <a:gd name="T77" fmla="*/ 1199167383 h 231"/>
                <a:gd name="T78" fmla="*/ 787080384 w 377"/>
                <a:gd name="T79" fmla="*/ 1157814985 h 231"/>
                <a:gd name="T80" fmla="*/ 704229990 w 377"/>
                <a:gd name="T81" fmla="*/ 1302543129 h 231"/>
                <a:gd name="T82" fmla="*/ 683516570 w 377"/>
                <a:gd name="T83" fmla="*/ 1343892903 h 231"/>
                <a:gd name="T84" fmla="*/ 642092687 w 377"/>
                <a:gd name="T85" fmla="*/ 1343892903 h 231"/>
                <a:gd name="T86" fmla="*/ 352114995 w 377"/>
                <a:gd name="T87" fmla="*/ 1550647348 h 231"/>
                <a:gd name="T88" fmla="*/ 289977774 w 377"/>
                <a:gd name="T89" fmla="*/ 1591997121 h 23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77"/>
                <a:gd name="T136" fmla="*/ 0 h 231"/>
                <a:gd name="T137" fmla="*/ 377 w 377"/>
                <a:gd name="T138" fmla="*/ 231 h 23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77" h="231">
                  <a:moveTo>
                    <a:pt x="42" y="231"/>
                  </a:moveTo>
                  <a:cubicBezTo>
                    <a:pt x="33" y="213"/>
                    <a:pt x="15" y="201"/>
                    <a:pt x="3" y="189"/>
                  </a:cubicBezTo>
                  <a:cubicBezTo>
                    <a:pt x="0" y="180"/>
                    <a:pt x="3" y="180"/>
                    <a:pt x="3" y="174"/>
                  </a:cubicBezTo>
                  <a:cubicBezTo>
                    <a:pt x="3" y="171"/>
                    <a:pt x="3" y="168"/>
                    <a:pt x="6" y="162"/>
                  </a:cubicBezTo>
                  <a:cubicBezTo>
                    <a:pt x="3" y="159"/>
                    <a:pt x="3" y="156"/>
                    <a:pt x="0" y="156"/>
                  </a:cubicBezTo>
                  <a:cubicBezTo>
                    <a:pt x="9" y="147"/>
                    <a:pt x="36" y="150"/>
                    <a:pt x="48" y="150"/>
                  </a:cubicBezTo>
                  <a:cubicBezTo>
                    <a:pt x="60" y="147"/>
                    <a:pt x="69" y="141"/>
                    <a:pt x="78" y="132"/>
                  </a:cubicBezTo>
                  <a:cubicBezTo>
                    <a:pt x="81" y="129"/>
                    <a:pt x="87" y="126"/>
                    <a:pt x="90" y="123"/>
                  </a:cubicBezTo>
                  <a:cubicBezTo>
                    <a:pt x="90" y="117"/>
                    <a:pt x="90" y="114"/>
                    <a:pt x="90" y="111"/>
                  </a:cubicBezTo>
                  <a:cubicBezTo>
                    <a:pt x="81" y="93"/>
                    <a:pt x="66" y="84"/>
                    <a:pt x="54" y="78"/>
                  </a:cubicBezTo>
                  <a:cubicBezTo>
                    <a:pt x="54" y="75"/>
                    <a:pt x="51" y="72"/>
                    <a:pt x="51" y="72"/>
                  </a:cubicBezTo>
                  <a:cubicBezTo>
                    <a:pt x="51" y="63"/>
                    <a:pt x="51" y="54"/>
                    <a:pt x="51" y="48"/>
                  </a:cubicBezTo>
                  <a:cubicBezTo>
                    <a:pt x="57" y="42"/>
                    <a:pt x="60" y="36"/>
                    <a:pt x="69" y="33"/>
                  </a:cubicBezTo>
                  <a:cubicBezTo>
                    <a:pt x="81" y="27"/>
                    <a:pt x="72" y="15"/>
                    <a:pt x="69" y="9"/>
                  </a:cubicBezTo>
                  <a:cubicBezTo>
                    <a:pt x="63" y="6"/>
                    <a:pt x="57" y="3"/>
                    <a:pt x="54" y="0"/>
                  </a:cubicBezTo>
                  <a:cubicBezTo>
                    <a:pt x="69" y="0"/>
                    <a:pt x="84" y="0"/>
                    <a:pt x="99" y="0"/>
                  </a:cubicBezTo>
                  <a:cubicBezTo>
                    <a:pt x="105" y="0"/>
                    <a:pt x="111" y="0"/>
                    <a:pt x="117" y="3"/>
                  </a:cubicBezTo>
                  <a:cubicBezTo>
                    <a:pt x="123" y="12"/>
                    <a:pt x="141" y="27"/>
                    <a:pt x="159" y="30"/>
                  </a:cubicBezTo>
                  <a:cubicBezTo>
                    <a:pt x="162" y="33"/>
                    <a:pt x="164" y="33"/>
                    <a:pt x="170" y="36"/>
                  </a:cubicBezTo>
                  <a:cubicBezTo>
                    <a:pt x="188" y="36"/>
                    <a:pt x="209" y="36"/>
                    <a:pt x="227" y="36"/>
                  </a:cubicBezTo>
                  <a:cubicBezTo>
                    <a:pt x="236" y="42"/>
                    <a:pt x="242" y="45"/>
                    <a:pt x="248" y="48"/>
                  </a:cubicBezTo>
                  <a:cubicBezTo>
                    <a:pt x="248" y="54"/>
                    <a:pt x="254" y="60"/>
                    <a:pt x="263" y="66"/>
                  </a:cubicBezTo>
                  <a:cubicBezTo>
                    <a:pt x="272" y="69"/>
                    <a:pt x="281" y="69"/>
                    <a:pt x="290" y="69"/>
                  </a:cubicBezTo>
                  <a:cubicBezTo>
                    <a:pt x="296" y="72"/>
                    <a:pt x="302" y="75"/>
                    <a:pt x="311" y="78"/>
                  </a:cubicBezTo>
                  <a:cubicBezTo>
                    <a:pt x="311" y="81"/>
                    <a:pt x="323" y="78"/>
                    <a:pt x="335" y="84"/>
                  </a:cubicBezTo>
                  <a:cubicBezTo>
                    <a:pt x="335" y="87"/>
                    <a:pt x="335" y="90"/>
                    <a:pt x="341" y="96"/>
                  </a:cubicBezTo>
                  <a:cubicBezTo>
                    <a:pt x="344" y="96"/>
                    <a:pt x="359" y="96"/>
                    <a:pt x="359" y="105"/>
                  </a:cubicBezTo>
                  <a:cubicBezTo>
                    <a:pt x="353" y="114"/>
                    <a:pt x="353" y="111"/>
                    <a:pt x="353" y="123"/>
                  </a:cubicBezTo>
                  <a:cubicBezTo>
                    <a:pt x="353" y="129"/>
                    <a:pt x="362" y="132"/>
                    <a:pt x="365" y="144"/>
                  </a:cubicBezTo>
                  <a:cubicBezTo>
                    <a:pt x="365" y="150"/>
                    <a:pt x="365" y="159"/>
                    <a:pt x="377" y="165"/>
                  </a:cubicBezTo>
                  <a:cubicBezTo>
                    <a:pt x="377" y="165"/>
                    <a:pt x="377" y="165"/>
                    <a:pt x="377" y="168"/>
                  </a:cubicBezTo>
                  <a:cubicBezTo>
                    <a:pt x="350" y="171"/>
                    <a:pt x="344" y="180"/>
                    <a:pt x="320" y="195"/>
                  </a:cubicBezTo>
                  <a:cubicBezTo>
                    <a:pt x="314" y="198"/>
                    <a:pt x="311" y="201"/>
                    <a:pt x="308" y="207"/>
                  </a:cubicBezTo>
                  <a:cubicBezTo>
                    <a:pt x="293" y="213"/>
                    <a:pt x="287" y="207"/>
                    <a:pt x="278" y="222"/>
                  </a:cubicBezTo>
                  <a:cubicBezTo>
                    <a:pt x="275" y="222"/>
                    <a:pt x="275" y="222"/>
                    <a:pt x="272" y="225"/>
                  </a:cubicBezTo>
                  <a:cubicBezTo>
                    <a:pt x="266" y="219"/>
                    <a:pt x="263" y="213"/>
                    <a:pt x="257" y="210"/>
                  </a:cubicBezTo>
                  <a:cubicBezTo>
                    <a:pt x="239" y="207"/>
                    <a:pt x="233" y="195"/>
                    <a:pt x="224" y="189"/>
                  </a:cubicBezTo>
                  <a:cubicBezTo>
                    <a:pt x="212" y="189"/>
                    <a:pt x="212" y="192"/>
                    <a:pt x="206" y="201"/>
                  </a:cubicBezTo>
                  <a:cubicBezTo>
                    <a:pt x="179" y="201"/>
                    <a:pt x="159" y="183"/>
                    <a:pt x="144" y="174"/>
                  </a:cubicBezTo>
                  <a:cubicBezTo>
                    <a:pt x="132" y="174"/>
                    <a:pt x="123" y="171"/>
                    <a:pt x="114" y="168"/>
                  </a:cubicBezTo>
                  <a:cubicBezTo>
                    <a:pt x="93" y="168"/>
                    <a:pt x="87" y="171"/>
                    <a:pt x="102" y="189"/>
                  </a:cubicBezTo>
                  <a:cubicBezTo>
                    <a:pt x="102" y="192"/>
                    <a:pt x="102" y="192"/>
                    <a:pt x="99" y="195"/>
                  </a:cubicBezTo>
                  <a:cubicBezTo>
                    <a:pt x="96" y="195"/>
                    <a:pt x="93" y="195"/>
                    <a:pt x="93" y="195"/>
                  </a:cubicBezTo>
                  <a:cubicBezTo>
                    <a:pt x="66" y="195"/>
                    <a:pt x="60" y="204"/>
                    <a:pt x="51" y="225"/>
                  </a:cubicBezTo>
                  <a:cubicBezTo>
                    <a:pt x="45" y="228"/>
                    <a:pt x="45" y="231"/>
                    <a:pt x="42" y="231"/>
                  </a:cubicBezTo>
                  <a:close/>
                </a:path>
              </a:pathLst>
            </a:custGeom>
            <a:solidFill>
              <a:schemeClr val="accent3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3476613" y="3512673"/>
              <a:ext cx="2333169" cy="1291933"/>
            </a:xfrm>
            <a:custGeom>
              <a:avLst/>
              <a:gdLst>
                <a:gd name="T0" fmla="*/ 2147483647 w 978"/>
                <a:gd name="T1" fmla="*/ 2147483647 h 597"/>
                <a:gd name="T2" fmla="*/ 2147483647 w 978"/>
                <a:gd name="T3" fmla="*/ 2147483647 h 597"/>
                <a:gd name="T4" fmla="*/ 2147483647 w 978"/>
                <a:gd name="T5" fmla="*/ 2147483647 h 597"/>
                <a:gd name="T6" fmla="*/ 2147483647 w 978"/>
                <a:gd name="T7" fmla="*/ 2147483647 h 597"/>
                <a:gd name="T8" fmla="*/ 2147483647 w 978"/>
                <a:gd name="T9" fmla="*/ 2147483647 h 597"/>
                <a:gd name="T10" fmla="*/ 2147483647 w 978"/>
                <a:gd name="T11" fmla="*/ 2147483647 h 597"/>
                <a:gd name="T12" fmla="*/ 2147483647 w 978"/>
                <a:gd name="T13" fmla="*/ 2147483647 h 597"/>
                <a:gd name="T14" fmla="*/ 2147483647 w 978"/>
                <a:gd name="T15" fmla="*/ 2147483647 h 597"/>
                <a:gd name="T16" fmla="*/ 2147483647 w 978"/>
                <a:gd name="T17" fmla="*/ 2147483647 h 597"/>
                <a:gd name="T18" fmla="*/ 2147483647 w 978"/>
                <a:gd name="T19" fmla="*/ 2147483647 h 597"/>
                <a:gd name="T20" fmla="*/ 2147483647 w 978"/>
                <a:gd name="T21" fmla="*/ 2147483647 h 597"/>
                <a:gd name="T22" fmla="*/ 2103810132 w 978"/>
                <a:gd name="T23" fmla="*/ 2147483647 h 597"/>
                <a:gd name="T24" fmla="*/ 1958958822 w 978"/>
                <a:gd name="T25" fmla="*/ 2147483647 h 597"/>
                <a:gd name="T26" fmla="*/ 1689946619 w 978"/>
                <a:gd name="T27" fmla="*/ 2147483647 h 597"/>
                <a:gd name="T28" fmla="*/ 1503706593 w 978"/>
                <a:gd name="T29" fmla="*/ 2147483647 h 597"/>
                <a:gd name="T30" fmla="*/ 1276082777 w 978"/>
                <a:gd name="T31" fmla="*/ 2147483647 h 597"/>
                <a:gd name="T32" fmla="*/ 1013967380 w 978"/>
                <a:gd name="T33" fmla="*/ 2112097683 h 597"/>
                <a:gd name="T34" fmla="*/ 786341266 w 978"/>
                <a:gd name="T35" fmla="*/ 2147483647 h 597"/>
                <a:gd name="T36" fmla="*/ 538024570 w 978"/>
                <a:gd name="T37" fmla="*/ 1905030841 h 597"/>
                <a:gd name="T38" fmla="*/ 82772198 w 978"/>
                <a:gd name="T39" fmla="*/ 1573720215 h 597"/>
                <a:gd name="T40" fmla="*/ 124158307 w 978"/>
                <a:gd name="T41" fmla="*/ 1345945310 h 597"/>
                <a:gd name="T42" fmla="*/ 165547022 w 978"/>
                <a:gd name="T43" fmla="*/ 973221842 h 597"/>
                <a:gd name="T44" fmla="*/ 372477589 w 978"/>
                <a:gd name="T45" fmla="*/ 1076755263 h 597"/>
                <a:gd name="T46" fmla="*/ 393170633 w 978"/>
                <a:gd name="T47" fmla="*/ 745447265 h 597"/>
                <a:gd name="T48" fmla="*/ 372477589 w 978"/>
                <a:gd name="T49" fmla="*/ 352015897 h 597"/>
                <a:gd name="T50" fmla="*/ 558717614 w 978"/>
                <a:gd name="T51" fmla="*/ 352015897 h 597"/>
                <a:gd name="T52" fmla="*/ 786341266 w 978"/>
                <a:gd name="T53" fmla="*/ 248482394 h 597"/>
                <a:gd name="T54" fmla="*/ 1096739558 w 978"/>
                <a:gd name="T55" fmla="*/ 20707740 h 597"/>
                <a:gd name="T56" fmla="*/ 1420934416 w 978"/>
                <a:gd name="T57" fmla="*/ 144948932 h 597"/>
                <a:gd name="T58" fmla="*/ 1752025752 w 978"/>
                <a:gd name="T59" fmla="*/ 82828334 h 597"/>
                <a:gd name="T60" fmla="*/ 1979651866 w 978"/>
                <a:gd name="T61" fmla="*/ 289895237 h 597"/>
                <a:gd name="T62" fmla="*/ 2147483647 w 978"/>
                <a:gd name="T63" fmla="*/ 227774659 h 597"/>
                <a:gd name="T64" fmla="*/ 2147483647 w 978"/>
                <a:gd name="T65" fmla="*/ 248482394 h 597"/>
                <a:gd name="T66" fmla="*/ 2147483647 w 978"/>
                <a:gd name="T67" fmla="*/ 103533462 h 597"/>
                <a:gd name="T68" fmla="*/ 2147483647 w 978"/>
                <a:gd name="T69" fmla="*/ 124241197 h 597"/>
                <a:gd name="T70" fmla="*/ 2147483647 w 978"/>
                <a:gd name="T71" fmla="*/ 310602972 h 597"/>
                <a:gd name="T72" fmla="*/ 2147483647 w 978"/>
                <a:gd name="T73" fmla="*/ 641911052 h 597"/>
                <a:gd name="T74" fmla="*/ 2147483647 w 978"/>
                <a:gd name="T75" fmla="*/ 1428771324 h 597"/>
                <a:gd name="T76" fmla="*/ 2147483647 w 978"/>
                <a:gd name="T77" fmla="*/ 1553012480 h 597"/>
                <a:gd name="T78" fmla="*/ 2147483647 w 978"/>
                <a:gd name="T79" fmla="*/ 1905030841 h 597"/>
                <a:gd name="T80" fmla="*/ 2147483647 w 978"/>
                <a:gd name="T81" fmla="*/ 1925735949 h 597"/>
                <a:gd name="T82" fmla="*/ 2147483647 w 978"/>
                <a:gd name="T83" fmla="*/ 2147483647 h 597"/>
                <a:gd name="T84" fmla="*/ 2147483647 w 978"/>
                <a:gd name="T85" fmla="*/ 2147483647 h 597"/>
                <a:gd name="T86" fmla="*/ 2147483647 w 978"/>
                <a:gd name="T87" fmla="*/ 2147483647 h 597"/>
                <a:gd name="T88" fmla="*/ 2147483647 w 978"/>
                <a:gd name="T89" fmla="*/ 2147483647 h 597"/>
                <a:gd name="T90" fmla="*/ 2147483647 w 978"/>
                <a:gd name="T91" fmla="*/ 2091389948 h 597"/>
                <a:gd name="T92" fmla="*/ 2147483647 w 978"/>
                <a:gd name="T93" fmla="*/ 2147483647 h 597"/>
                <a:gd name="T94" fmla="*/ 2147483647 w 978"/>
                <a:gd name="T95" fmla="*/ 2147483647 h 597"/>
                <a:gd name="T96" fmla="*/ 2147483647 w 978"/>
                <a:gd name="T97" fmla="*/ 2147483647 h 597"/>
                <a:gd name="T98" fmla="*/ 2147483647 w 978"/>
                <a:gd name="T99" fmla="*/ 2147483647 h 597"/>
                <a:gd name="T100" fmla="*/ 2147483647 w 978"/>
                <a:gd name="T101" fmla="*/ 2147483647 h 597"/>
                <a:gd name="T102" fmla="*/ 2147483647 w 978"/>
                <a:gd name="T103" fmla="*/ 2147483647 h 597"/>
                <a:gd name="T104" fmla="*/ 2147483647 w 978"/>
                <a:gd name="T105" fmla="*/ 2147483647 h 597"/>
                <a:gd name="T106" fmla="*/ 2147483647 w 978"/>
                <a:gd name="T107" fmla="*/ 2147483647 h 597"/>
                <a:gd name="T108" fmla="*/ 2147483647 w 978"/>
                <a:gd name="T109" fmla="*/ 2147483647 h 597"/>
                <a:gd name="T110" fmla="*/ 2147483647 w 978"/>
                <a:gd name="T111" fmla="*/ 2147483647 h 597"/>
                <a:gd name="T112" fmla="*/ 2147483647 w 978"/>
                <a:gd name="T113" fmla="*/ 2147483647 h 597"/>
                <a:gd name="T114" fmla="*/ 2147483647 w 978"/>
                <a:gd name="T115" fmla="*/ 2147483647 h 597"/>
                <a:gd name="T116" fmla="*/ 2147483647 w 978"/>
                <a:gd name="T117" fmla="*/ 2147483647 h 59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8"/>
                <a:gd name="T178" fmla="*/ 0 h 597"/>
                <a:gd name="T179" fmla="*/ 978 w 978"/>
                <a:gd name="T180" fmla="*/ 597 h 59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8" h="597">
                  <a:moveTo>
                    <a:pt x="676" y="597"/>
                  </a:moveTo>
                  <a:cubicBezTo>
                    <a:pt x="670" y="591"/>
                    <a:pt x="637" y="594"/>
                    <a:pt x="634" y="594"/>
                  </a:cubicBezTo>
                  <a:cubicBezTo>
                    <a:pt x="631" y="594"/>
                    <a:pt x="628" y="594"/>
                    <a:pt x="628" y="597"/>
                  </a:cubicBezTo>
                  <a:cubicBezTo>
                    <a:pt x="598" y="594"/>
                    <a:pt x="613" y="582"/>
                    <a:pt x="619" y="567"/>
                  </a:cubicBezTo>
                  <a:cubicBezTo>
                    <a:pt x="619" y="564"/>
                    <a:pt x="619" y="561"/>
                    <a:pt x="619" y="558"/>
                  </a:cubicBezTo>
                  <a:cubicBezTo>
                    <a:pt x="598" y="552"/>
                    <a:pt x="601" y="546"/>
                    <a:pt x="598" y="534"/>
                  </a:cubicBezTo>
                  <a:cubicBezTo>
                    <a:pt x="595" y="534"/>
                    <a:pt x="595" y="531"/>
                    <a:pt x="595" y="531"/>
                  </a:cubicBezTo>
                  <a:cubicBezTo>
                    <a:pt x="583" y="531"/>
                    <a:pt x="577" y="528"/>
                    <a:pt x="568" y="528"/>
                  </a:cubicBezTo>
                  <a:cubicBezTo>
                    <a:pt x="565" y="522"/>
                    <a:pt x="562" y="519"/>
                    <a:pt x="559" y="516"/>
                  </a:cubicBezTo>
                  <a:cubicBezTo>
                    <a:pt x="547" y="510"/>
                    <a:pt x="535" y="504"/>
                    <a:pt x="529" y="501"/>
                  </a:cubicBezTo>
                  <a:cubicBezTo>
                    <a:pt x="526" y="498"/>
                    <a:pt x="526" y="498"/>
                    <a:pt x="523" y="498"/>
                  </a:cubicBezTo>
                  <a:cubicBezTo>
                    <a:pt x="517" y="498"/>
                    <a:pt x="511" y="498"/>
                    <a:pt x="505" y="498"/>
                  </a:cubicBezTo>
                  <a:cubicBezTo>
                    <a:pt x="496" y="504"/>
                    <a:pt x="493" y="510"/>
                    <a:pt x="484" y="516"/>
                  </a:cubicBezTo>
                  <a:cubicBezTo>
                    <a:pt x="481" y="516"/>
                    <a:pt x="478" y="519"/>
                    <a:pt x="475" y="522"/>
                  </a:cubicBezTo>
                  <a:cubicBezTo>
                    <a:pt x="475" y="525"/>
                    <a:pt x="472" y="525"/>
                    <a:pt x="472" y="528"/>
                  </a:cubicBezTo>
                  <a:cubicBezTo>
                    <a:pt x="472" y="534"/>
                    <a:pt x="469" y="543"/>
                    <a:pt x="469" y="549"/>
                  </a:cubicBezTo>
                  <a:cubicBezTo>
                    <a:pt x="446" y="546"/>
                    <a:pt x="451" y="525"/>
                    <a:pt x="457" y="510"/>
                  </a:cubicBezTo>
                  <a:cubicBezTo>
                    <a:pt x="457" y="507"/>
                    <a:pt x="457" y="504"/>
                    <a:pt x="457" y="504"/>
                  </a:cubicBezTo>
                  <a:cubicBezTo>
                    <a:pt x="448" y="495"/>
                    <a:pt x="448" y="498"/>
                    <a:pt x="440" y="495"/>
                  </a:cubicBezTo>
                  <a:cubicBezTo>
                    <a:pt x="419" y="501"/>
                    <a:pt x="410" y="501"/>
                    <a:pt x="395" y="510"/>
                  </a:cubicBezTo>
                  <a:cubicBezTo>
                    <a:pt x="380" y="510"/>
                    <a:pt x="374" y="498"/>
                    <a:pt x="371" y="492"/>
                  </a:cubicBezTo>
                  <a:cubicBezTo>
                    <a:pt x="368" y="489"/>
                    <a:pt x="365" y="486"/>
                    <a:pt x="362" y="483"/>
                  </a:cubicBezTo>
                  <a:cubicBezTo>
                    <a:pt x="350" y="483"/>
                    <a:pt x="335" y="483"/>
                    <a:pt x="323" y="483"/>
                  </a:cubicBezTo>
                  <a:cubicBezTo>
                    <a:pt x="311" y="477"/>
                    <a:pt x="311" y="462"/>
                    <a:pt x="305" y="456"/>
                  </a:cubicBezTo>
                  <a:cubicBezTo>
                    <a:pt x="296" y="453"/>
                    <a:pt x="296" y="453"/>
                    <a:pt x="293" y="447"/>
                  </a:cubicBezTo>
                  <a:cubicBezTo>
                    <a:pt x="290" y="444"/>
                    <a:pt x="287" y="441"/>
                    <a:pt x="284" y="438"/>
                  </a:cubicBezTo>
                  <a:cubicBezTo>
                    <a:pt x="275" y="435"/>
                    <a:pt x="269" y="435"/>
                    <a:pt x="263" y="432"/>
                  </a:cubicBezTo>
                  <a:cubicBezTo>
                    <a:pt x="242" y="414"/>
                    <a:pt x="248" y="411"/>
                    <a:pt x="245" y="393"/>
                  </a:cubicBezTo>
                  <a:cubicBezTo>
                    <a:pt x="242" y="390"/>
                    <a:pt x="242" y="387"/>
                    <a:pt x="239" y="384"/>
                  </a:cubicBezTo>
                  <a:cubicBezTo>
                    <a:pt x="233" y="384"/>
                    <a:pt x="224" y="384"/>
                    <a:pt x="218" y="384"/>
                  </a:cubicBezTo>
                  <a:cubicBezTo>
                    <a:pt x="200" y="378"/>
                    <a:pt x="203" y="372"/>
                    <a:pt x="200" y="363"/>
                  </a:cubicBezTo>
                  <a:cubicBezTo>
                    <a:pt x="194" y="357"/>
                    <a:pt x="188" y="354"/>
                    <a:pt x="185" y="351"/>
                  </a:cubicBezTo>
                  <a:cubicBezTo>
                    <a:pt x="176" y="345"/>
                    <a:pt x="170" y="339"/>
                    <a:pt x="164" y="333"/>
                  </a:cubicBezTo>
                  <a:cubicBezTo>
                    <a:pt x="159" y="324"/>
                    <a:pt x="153" y="315"/>
                    <a:pt x="147" y="306"/>
                  </a:cubicBezTo>
                  <a:cubicBezTo>
                    <a:pt x="138" y="306"/>
                    <a:pt x="135" y="306"/>
                    <a:pt x="129" y="309"/>
                  </a:cubicBezTo>
                  <a:cubicBezTo>
                    <a:pt x="123" y="309"/>
                    <a:pt x="120" y="312"/>
                    <a:pt x="114" y="315"/>
                  </a:cubicBezTo>
                  <a:cubicBezTo>
                    <a:pt x="108" y="315"/>
                    <a:pt x="102" y="315"/>
                    <a:pt x="96" y="315"/>
                  </a:cubicBezTo>
                  <a:cubicBezTo>
                    <a:pt x="81" y="303"/>
                    <a:pt x="78" y="288"/>
                    <a:pt x="78" y="276"/>
                  </a:cubicBezTo>
                  <a:cubicBezTo>
                    <a:pt x="72" y="270"/>
                    <a:pt x="66" y="261"/>
                    <a:pt x="63" y="252"/>
                  </a:cubicBezTo>
                  <a:cubicBezTo>
                    <a:pt x="48" y="237"/>
                    <a:pt x="27" y="231"/>
                    <a:pt x="12" y="228"/>
                  </a:cubicBezTo>
                  <a:cubicBezTo>
                    <a:pt x="0" y="219"/>
                    <a:pt x="6" y="213"/>
                    <a:pt x="9" y="207"/>
                  </a:cubicBezTo>
                  <a:cubicBezTo>
                    <a:pt x="15" y="204"/>
                    <a:pt x="18" y="195"/>
                    <a:pt x="18" y="195"/>
                  </a:cubicBezTo>
                  <a:cubicBezTo>
                    <a:pt x="18" y="183"/>
                    <a:pt x="18" y="171"/>
                    <a:pt x="18" y="159"/>
                  </a:cubicBezTo>
                  <a:cubicBezTo>
                    <a:pt x="12" y="141"/>
                    <a:pt x="9" y="141"/>
                    <a:pt x="24" y="141"/>
                  </a:cubicBezTo>
                  <a:cubicBezTo>
                    <a:pt x="27" y="141"/>
                    <a:pt x="27" y="144"/>
                    <a:pt x="30" y="144"/>
                  </a:cubicBezTo>
                  <a:cubicBezTo>
                    <a:pt x="33" y="150"/>
                    <a:pt x="42" y="171"/>
                    <a:pt x="54" y="156"/>
                  </a:cubicBezTo>
                  <a:cubicBezTo>
                    <a:pt x="54" y="150"/>
                    <a:pt x="57" y="144"/>
                    <a:pt x="57" y="141"/>
                  </a:cubicBezTo>
                  <a:cubicBezTo>
                    <a:pt x="57" y="129"/>
                    <a:pt x="57" y="120"/>
                    <a:pt x="57" y="108"/>
                  </a:cubicBezTo>
                  <a:cubicBezTo>
                    <a:pt x="51" y="99"/>
                    <a:pt x="48" y="93"/>
                    <a:pt x="45" y="84"/>
                  </a:cubicBezTo>
                  <a:cubicBezTo>
                    <a:pt x="42" y="66"/>
                    <a:pt x="45" y="57"/>
                    <a:pt x="54" y="51"/>
                  </a:cubicBezTo>
                  <a:cubicBezTo>
                    <a:pt x="57" y="48"/>
                    <a:pt x="57" y="45"/>
                    <a:pt x="60" y="42"/>
                  </a:cubicBezTo>
                  <a:cubicBezTo>
                    <a:pt x="66" y="45"/>
                    <a:pt x="72" y="48"/>
                    <a:pt x="81" y="51"/>
                  </a:cubicBezTo>
                  <a:cubicBezTo>
                    <a:pt x="84" y="51"/>
                    <a:pt x="90" y="51"/>
                    <a:pt x="99" y="51"/>
                  </a:cubicBezTo>
                  <a:cubicBezTo>
                    <a:pt x="102" y="45"/>
                    <a:pt x="108" y="42"/>
                    <a:pt x="114" y="36"/>
                  </a:cubicBezTo>
                  <a:cubicBezTo>
                    <a:pt x="120" y="18"/>
                    <a:pt x="126" y="9"/>
                    <a:pt x="144" y="0"/>
                  </a:cubicBezTo>
                  <a:cubicBezTo>
                    <a:pt x="150" y="0"/>
                    <a:pt x="150" y="0"/>
                    <a:pt x="159" y="3"/>
                  </a:cubicBezTo>
                  <a:cubicBezTo>
                    <a:pt x="164" y="9"/>
                    <a:pt x="173" y="12"/>
                    <a:pt x="182" y="18"/>
                  </a:cubicBezTo>
                  <a:cubicBezTo>
                    <a:pt x="182" y="30"/>
                    <a:pt x="197" y="24"/>
                    <a:pt x="206" y="21"/>
                  </a:cubicBezTo>
                  <a:cubicBezTo>
                    <a:pt x="212" y="21"/>
                    <a:pt x="218" y="18"/>
                    <a:pt x="224" y="18"/>
                  </a:cubicBezTo>
                  <a:cubicBezTo>
                    <a:pt x="236" y="6"/>
                    <a:pt x="236" y="0"/>
                    <a:pt x="254" y="12"/>
                  </a:cubicBezTo>
                  <a:cubicBezTo>
                    <a:pt x="254" y="27"/>
                    <a:pt x="254" y="24"/>
                    <a:pt x="269" y="36"/>
                  </a:cubicBezTo>
                  <a:cubicBezTo>
                    <a:pt x="275" y="36"/>
                    <a:pt x="281" y="39"/>
                    <a:pt x="287" y="42"/>
                  </a:cubicBezTo>
                  <a:cubicBezTo>
                    <a:pt x="293" y="42"/>
                    <a:pt x="296" y="42"/>
                    <a:pt x="302" y="42"/>
                  </a:cubicBezTo>
                  <a:cubicBezTo>
                    <a:pt x="311" y="39"/>
                    <a:pt x="320" y="33"/>
                    <a:pt x="335" y="33"/>
                  </a:cubicBezTo>
                  <a:cubicBezTo>
                    <a:pt x="353" y="27"/>
                    <a:pt x="350" y="24"/>
                    <a:pt x="371" y="33"/>
                  </a:cubicBezTo>
                  <a:cubicBezTo>
                    <a:pt x="380" y="33"/>
                    <a:pt x="386" y="33"/>
                    <a:pt x="392" y="36"/>
                  </a:cubicBezTo>
                  <a:cubicBezTo>
                    <a:pt x="401" y="30"/>
                    <a:pt x="398" y="24"/>
                    <a:pt x="407" y="21"/>
                  </a:cubicBezTo>
                  <a:cubicBezTo>
                    <a:pt x="422" y="9"/>
                    <a:pt x="431" y="3"/>
                    <a:pt x="454" y="15"/>
                  </a:cubicBezTo>
                  <a:cubicBezTo>
                    <a:pt x="469" y="15"/>
                    <a:pt x="493" y="12"/>
                    <a:pt x="514" y="12"/>
                  </a:cubicBezTo>
                  <a:cubicBezTo>
                    <a:pt x="517" y="15"/>
                    <a:pt x="523" y="18"/>
                    <a:pt x="526" y="18"/>
                  </a:cubicBezTo>
                  <a:cubicBezTo>
                    <a:pt x="532" y="24"/>
                    <a:pt x="538" y="30"/>
                    <a:pt x="547" y="33"/>
                  </a:cubicBezTo>
                  <a:cubicBezTo>
                    <a:pt x="547" y="36"/>
                    <a:pt x="547" y="42"/>
                    <a:pt x="547" y="45"/>
                  </a:cubicBezTo>
                  <a:cubicBezTo>
                    <a:pt x="553" y="51"/>
                    <a:pt x="565" y="60"/>
                    <a:pt x="559" y="75"/>
                  </a:cubicBezTo>
                  <a:cubicBezTo>
                    <a:pt x="556" y="81"/>
                    <a:pt x="553" y="87"/>
                    <a:pt x="550" y="93"/>
                  </a:cubicBezTo>
                  <a:cubicBezTo>
                    <a:pt x="550" y="99"/>
                    <a:pt x="550" y="105"/>
                    <a:pt x="550" y="111"/>
                  </a:cubicBezTo>
                  <a:cubicBezTo>
                    <a:pt x="553" y="144"/>
                    <a:pt x="547" y="177"/>
                    <a:pt x="577" y="207"/>
                  </a:cubicBezTo>
                  <a:cubicBezTo>
                    <a:pt x="580" y="210"/>
                    <a:pt x="592" y="216"/>
                    <a:pt x="601" y="219"/>
                  </a:cubicBezTo>
                  <a:cubicBezTo>
                    <a:pt x="607" y="222"/>
                    <a:pt x="616" y="222"/>
                    <a:pt x="622" y="225"/>
                  </a:cubicBezTo>
                  <a:cubicBezTo>
                    <a:pt x="634" y="243"/>
                    <a:pt x="649" y="252"/>
                    <a:pt x="676" y="255"/>
                  </a:cubicBezTo>
                  <a:cubicBezTo>
                    <a:pt x="688" y="264"/>
                    <a:pt x="694" y="273"/>
                    <a:pt x="715" y="276"/>
                  </a:cubicBezTo>
                  <a:cubicBezTo>
                    <a:pt x="733" y="273"/>
                    <a:pt x="750" y="273"/>
                    <a:pt x="768" y="273"/>
                  </a:cubicBezTo>
                  <a:cubicBezTo>
                    <a:pt x="771" y="276"/>
                    <a:pt x="774" y="276"/>
                    <a:pt x="780" y="279"/>
                  </a:cubicBezTo>
                  <a:cubicBezTo>
                    <a:pt x="783" y="282"/>
                    <a:pt x="789" y="285"/>
                    <a:pt x="795" y="288"/>
                  </a:cubicBezTo>
                  <a:cubicBezTo>
                    <a:pt x="798" y="297"/>
                    <a:pt x="804" y="303"/>
                    <a:pt x="807" y="312"/>
                  </a:cubicBezTo>
                  <a:cubicBezTo>
                    <a:pt x="810" y="327"/>
                    <a:pt x="810" y="327"/>
                    <a:pt x="825" y="342"/>
                  </a:cubicBezTo>
                  <a:cubicBezTo>
                    <a:pt x="828" y="342"/>
                    <a:pt x="834" y="342"/>
                    <a:pt x="837" y="342"/>
                  </a:cubicBezTo>
                  <a:cubicBezTo>
                    <a:pt x="837" y="339"/>
                    <a:pt x="840" y="336"/>
                    <a:pt x="843" y="333"/>
                  </a:cubicBezTo>
                  <a:cubicBezTo>
                    <a:pt x="846" y="333"/>
                    <a:pt x="849" y="330"/>
                    <a:pt x="852" y="330"/>
                  </a:cubicBezTo>
                  <a:cubicBezTo>
                    <a:pt x="852" y="336"/>
                    <a:pt x="858" y="342"/>
                    <a:pt x="867" y="342"/>
                  </a:cubicBezTo>
                  <a:cubicBezTo>
                    <a:pt x="873" y="339"/>
                    <a:pt x="879" y="333"/>
                    <a:pt x="885" y="330"/>
                  </a:cubicBezTo>
                  <a:cubicBezTo>
                    <a:pt x="891" y="321"/>
                    <a:pt x="897" y="309"/>
                    <a:pt x="906" y="303"/>
                  </a:cubicBezTo>
                  <a:cubicBezTo>
                    <a:pt x="906" y="303"/>
                    <a:pt x="906" y="303"/>
                    <a:pt x="909" y="303"/>
                  </a:cubicBezTo>
                  <a:cubicBezTo>
                    <a:pt x="909" y="306"/>
                    <a:pt x="918" y="312"/>
                    <a:pt x="927" y="318"/>
                  </a:cubicBezTo>
                  <a:cubicBezTo>
                    <a:pt x="930" y="330"/>
                    <a:pt x="942" y="345"/>
                    <a:pt x="957" y="360"/>
                  </a:cubicBezTo>
                  <a:cubicBezTo>
                    <a:pt x="960" y="372"/>
                    <a:pt x="963" y="384"/>
                    <a:pt x="966" y="393"/>
                  </a:cubicBezTo>
                  <a:cubicBezTo>
                    <a:pt x="972" y="402"/>
                    <a:pt x="978" y="411"/>
                    <a:pt x="978" y="426"/>
                  </a:cubicBezTo>
                  <a:cubicBezTo>
                    <a:pt x="966" y="441"/>
                    <a:pt x="966" y="438"/>
                    <a:pt x="966" y="459"/>
                  </a:cubicBezTo>
                  <a:cubicBezTo>
                    <a:pt x="969" y="468"/>
                    <a:pt x="978" y="480"/>
                    <a:pt x="972" y="495"/>
                  </a:cubicBezTo>
                  <a:cubicBezTo>
                    <a:pt x="972" y="498"/>
                    <a:pt x="972" y="501"/>
                    <a:pt x="972" y="504"/>
                  </a:cubicBezTo>
                  <a:cubicBezTo>
                    <a:pt x="969" y="504"/>
                    <a:pt x="969" y="504"/>
                    <a:pt x="969" y="504"/>
                  </a:cubicBezTo>
                  <a:cubicBezTo>
                    <a:pt x="969" y="501"/>
                    <a:pt x="963" y="498"/>
                    <a:pt x="960" y="495"/>
                  </a:cubicBezTo>
                  <a:cubicBezTo>
                    <a:pt x="948" y="495"/>
                    <a:pt x="945" y="498"/>
                    <a:pt x="939" y="504"/>
                  </a:cubicBezTo>
                  <a:cubicBezTo>
                    <a:pt x="939" y="510"/>
                    <a:pt x="942" y="519"/>
                    <a:pt x="945" y="534"/>
                  </a:cubicBezTo>
                  <a:cubicBezTo>
                    <a:pt x="945" y="537"/>
                    <a:pt x="942" y="543"/>
                    <a:pt x="942" y="546"/>
                  </a:cubicBezTo>
                  <a:cubicBezTo>
                    <a:pt x="942" y="546"/>
                    <a:pt x="939" y="549"/>
                    <a:pt x="936" y="549"/>
                  </a:cubicBezTo>
                  <a:cubicBezTo>
                    <a:pt x="933" y="549"/>
                    <a:pt x="927" y="549"/>
                    <a:pt x="924" y="549"/>
                  </a:cubicBezTo>
                  <a:cubicBezTo>
                    <a:pt x="918" y="540"/>
                    <a:pt x="912" y="534"/>
                    <a:pt x="909" y="528"/>
                  </a:cubicBezTo>
                  <a:cubicBezTo>
                    <a:pt x="888" y="519"/>
                    <a:pt x="876" y="534"/>
                    <a:pt x="879" y="555"/>
                  </a:cubicBezTo>
                  <a:cubicBezTo>
                    <a:pt x="879" y="558"/>
                    <a:pt x="876" y="558"/>
                    <a:pt x="876" y="561"/>
                  </a:cubicBezTo>
                  <a:cubicBezTo>
                    <a:pt x="867" y="561"/>
                    <a:pt x="855" y="558"/>
                    <a:pt x="855" y="555"/>
                  </a:cubicBezTo>
                  <a:cubicBezTo>
                    <a:pt x="852" y="549"/>
                    <a:pt x="852" y="546"/>
                    <a:pt x="852" y="543"/>
                  </a:cubicBezTo>
                  <a:cubicBezTo>
                    <a:pt x="837" y="537"/>
                    <a:pt x="828" y="534"/>
                    <a:pt x="819" y="531"/>
                  </a:cubicBezTo>
                  <a:cubicBezTo>
                    <a:pt x="816" y="528"/>
                    <a:pt x="816" y="525"/>
                    <a:pt x="813" y="522"/>
                  </a:cubicBezTo>
                  <a:cubicBezTo>
                    <a:pt x="795" y="522"/>
                    <a:pt x="798" y="525"/>
                    <a:pt x="786" y="537"/>
                  </a:cubicBezTo>
                  <a:cubicBezTo>
                    <a:pt x="777" y="540"/>
                    <a:pt x="771" y="543"/>
                    <a:pt x="765" y="549"/>
                  </a:cubicBezTo>
                  <a:cubicBezTo>
                    <a:pt x="747" y="552"/>
                    <a:pt x="750" y="552"/>
                    <a:pt x="741" y="567"/>
                  </a:cubicBezTo>
                  <a:cubicBezTo>
                    <a:pt x="721" y="570"/>
                    <a:pt x="721" y="570"/>
                    <a:pt x="709" y="585"/>
                  </a:cubicBezTo>
                  <a:cubicBezTo>
                    <a:pt x="706" y="588"/>
                    <a:pt x="706" y="588"/>
                    <a:pt x="703" y="591"/>
                  </a:cubicBezTo>
                  <a:cubicBezTo>
                    <a:pt x="691" y="591"/>
                    <a:pt x="685" y="594"/>
                    <a:pt x="676" y="597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3" name="Freeform 19"/>
            <p:cNvSpPr>
              <a:spLocks/>
            </p:cNvSpPr>
            <p:nvPr/>
          </p:nvSpPr>
          <p:spPr bwMode="auto">
            <a:xfrm>
              <a:off x="5638182" y="3948110"/>
              <a:ext cx="1160817" cy="1044792"/>
            </a:xfrm>
            <a:custGeom>
              <a:avLst/>
              <a:gdLst>
                <a:gd name="T0" fmla="*/ 1459814846 w 487"/>
                <a:gd name="T1" fmla="*/ 2147483647 h 483"/>
                <a:gd name="T2" fmla="*/ 1232577780 w 487"/>
                <a:gd name="T3" fmla="*/ 2147483647 h 483"/>
                <a:gd name="T4" fmla="*/ 1211920849 w 487"/>
                <a:gd name="T5" fmla="*/ 2147483647 h 483"/>
                <a:gd name="T6" fmla="*/ 922713318 w 487"/>
                <a:gd name="T7" fmla="*/ 2147483647 h 483"/>
                <a:gd name="T8" fmla="*/ 784995197 w 487"/>
                <a:gd name="T9" fmla="*/ 2147483647 h 483"/>
                <a:gd name="T10" fmla="*/ 681705129 w 487"/>
                <a:gd name="T11" fmla="*/ 2131008435 h 483"/>
                <a:gd name="T12" fmla="*/ 516444433 w 487"/>
                <a:gd name="T13" fmla="*/ 2147483647 h 483"/>
                <a:gd name="T14" fmla="*/ 495784878 w 487"/>
                <a:gd name="T15" fmla="*/ 2027560665 h 483"/>
                <a:gd name="T16" fmla="*/ 454471016 w 487"/>
                <a:gd name="T17" fmla="*/ 1655151845 h 483"/>
                <a:gd name="T18" fmla="*/ 516444433 w 487"/>
                <a:gd name="T19" fmla="*/ 1406879298 h 483"/>
                <a:gd name="T20" fmla="*/ 371840667 w 487"/>
                <a:gd name="T21" fmla="*/ 1075847156 h 483"/>
                <a:gd name="T22" fmla="*/ 61973438 w 487"/>
                <a:gd name="T23" fmla="*/ 682749668 h 483"/>
                <a:gd name="T24" fmla="*/ 20656936 w 487"/>
                <a:gd name="T25" fmla="*/ 662061165 h 483"/>
                <a:gd name="T26" fmla="*/ 103289944 w 487"/>
                <a:gd name="T27" fmla="*/ 331029269 h 483"/>
                <a:gd name="T28" fmla="*/ 20656936 w 487"/>
                <a:gd name="T29" fmla="*/ 144824818 h 483"/>
                <a:gd name="T30" fmla="*/ 392497598 w 487"/>
                <a:gd name="T31" fmla="*/ 268961133 h 483"/>
                <a:gd name="T32" fmla="*/ 702362224 w 487"/>
                <a:gd name="T33" fmla="*/ 641370035 h 483"/>
                <a:gd name="T34" fmla="*/ 840082970 w 487"/>
                <a:gd name="T35" fmla="*/ 579301898 h 483"/>
                <a:gd name="T36" fmla="*/ 984686736 w 487"/>
                <a:gd name="T37" fmla="*/ 662061165 h 483"/>
                <a:gd name="T38" fmla="*/ 1087974015 w 487"/>
                <a:gd name="T39" fmla="*/ 703438336 h 483"/>
                <a:gd name="T40" fmla="*/ 1294551198 w 487"/>
                <a:gd name="T41" fmla="*/ 620681531 h 483"/>
                <a:gd name="T42" fmla="*/ 1294551198 w 487"/>
                <a:gd name="T43" fmla="*/ 268961133 h 483"/>
                <a:gd name="T44" fmla="*/ 1439155291 w 487"/>
                <a:gd name="T45" fmla="*/ 393097488 h 483"/>
                <a:gd name="T46" fmla="*/ 1666392029 w 487"/>
                <a:gd name="T47" fmla="*/ 331029269 h 483"/>
                <a:gd name="T48" fmla="*/ 1810995794 w 487"/>
                <a:gd name="T49" fmla="*/ 62068157 h 483"/>
                <a:gd name="T50" fmla="*/ 2038232532 w 487"/>
                <a:gd name="T51" fmla="*/ 248272629 h 483"/>
                <a:gd name="T52" fmla="*/ 2147483647 w 487"/>
                <a:gd name="T53" fmla="*/ 517233762 h 483"/>
                <a:gd name="T54" fmla="*/ 2147483647 w 487"/>
                <a:gd name="T55" fmla="*/ 682749668 h 483"/>
                <a:gd name="T56" fmla="*/ 2147483647 w 487"/>
                <a:gd name="T57" fmla="*/ 682749668 h 483"/>
                <a:gd name="T58" fmla="*/ 2147483647 w 487"/>
                <a:gd name="T59" fmla="*/ 765506473 h 483"/>
                <a:gd name="T60" fmla="*/ 2147483647 w 487"/>
                <a:gd name="T61" fmla="*/ 1013779020 h 483"/>
                <a:gd name="T62" fmla="*/ 2147483647 w 487"/>
                <a:gd name="T63" fmla="*/ 1489635938 h 483"/>
                <a:gd name="T64" fmla="*/ 2147483647 w 487"/>
                <a:gd name="T65" fmla="*/ 1344810833 h 483"/>
                <a:gd name="T66" fmla="*/ 2147483647 w 487"/>
                <a:gd name="T67" fmla="*/ 1489635938 h 483"/>
                <a:gd name="T68" fmla="*/ 2147483647 w 487"/>
                <a:gd name="T69" fmla="*/ 1924112895 h 483"/>
                <a:gd name="T70" fmla="*/ 2147483647 w 487"/>
                <a:gd name="T71" fmla="*/ 2147483647 h 483"/>
                <a:gd name="T72" fmla="*/ 2147483647 w 487"/>
                <a:gd name="T73" fmla="*/ 2147483647 h 483"/>
                <a:gd name="T74" fmla="*/ 2147483647 w 487"/>
                <a:gd name="T75" fmla="*/ 2147483647 h 483"/>
                <a:gd name="T76" fmla="*/ 2147483647 w 487"/>
                <a:gd name="T77" fmla="*/ 2147483647 h 483"/>
                <a:gd name="T78" fmla="*/ 2147483647 w 487"/>
                <a:gd name="T79" fmla="*/ 2147483647 h 483"/>
                <a:gd name="T80" fmla="*/ 1976259115 w 487"/>
                <a:gd name="T81" fmla="*/ 2147483647 h 483"/>
                <a:gd name="T82" fmla="*/ 1872969211 w 487"/>
                <a:gd name="T83" fmla="*/ 2147483647 h 483"/>
                <a:gd name="T84" fmla="*/ 1749022377 w 487"/>
                <a:gd name="T85" fmla="*/ 2147483647 h 483"/>
                <a:gd name="T86" fmla="*/ 1728365446 w 487"/>
                <a:gd name="T87" fmla="*/ 2147483647 h 483"/>
                <a:gd name="T88" fmla="*/ 1810995794 w 487"/>
                <a:gd name="T89" fmla="*/ 2147483647 h 483"/>
                <a:gd name="T90" fmla="*/ 1501128708 w 487"/>
                <a:gd name="T91" fmla="*/ 2147483647 h 48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87"/>
                <a:gd name="T139" fmla="*/ 0 h 483"/>
                <a:gd name="T140" fmla="*/ 487 w 487"/>
                <a:gd name="T141" fmla="*/ 483 h 48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87" h="483">
                  <a:moveTo>
                    <a:pt x="218" y="483"/>
                  </a:moveTo>
                  <a:cubicBezTo>
                    <a:pt x="215" y="483"/>
                    <a:pt x="215" y="483"/>
                    <a:pt x="212" y="483"/>
                  </a:cubicBezTo>
                  <a:cubicBezTo>
                    <a:pt x="200" y="474"/>
                    <a:pt x="194" y="474"/>
                    <a:pt x="185" y="465"/>
                  </a:cubicBezTo>
                  <a:cubicBezTo>
                    <a:pt x="182" y="462"/>
                    <a:pt x="179" y="462"/>
                    <a:pt x="179" y="459"/>
                  </a:cubicBezTo>
                  <a:cubicBezTo>
                    <a:pt x="179" y="456"/>
                    <a:pt x="179" y="453"/>
                    <a:pt x="179" y="450"/>
                  </a:cubicBezTo>
                  <a:cubicBezTo>
                    <a:pt x="191" y="435"/>
                    <a:pt x="185" y="426"/>
                    <a:pt x="176" y="414"/>
                  </a:cubicBezTo>
                  <a:cubicBezTo>
                    <a:pt x="164" y="402"/>
                    <a:pt x="161" y="387"/>
                    <a:pt x="155" y="381"/>
                  </a:cubicBezTo>
                  <a:cubicBezTo>
                    <a:pt x="146" y="363"/>
                    <a:pt x="149" y="369"/>
                    <a:pt x="134" y="366"/>
                  </a:cubicBezTo>
                  <a:cubicBezTo>
                    <a:pt x="131" y="366"/>
                    <a:pt x="128" y="363"/>
                    <a:pt x="125" y="363"/>
                  </a:cubicBezTo>
                  <a:cubicBezTo>
                    <a:pt x="122" y="357"/>
                    <a:pt x="117" y="351"/>
                    <a:pt x="114" y="345"/>
                  </a:cubicBezTo>
                  <a:cubicBezTo>
                    <a:pt x="111" y="336"/>
                    <a:pt x="108" y="327"/>
                    <a:pt x="105" y="321"/>
                  </a:cubicBezTo>
                  <a:cubicBezTo>
                    <a:pt x="102" y="315"/>
                    <a:pt x="99" y="312"/>
                    <a:pt x="99" y="309"/>
                  </a:cubicBezTo>
                  <a:cubicBezTo>
                    <a:pt x="75" y="309"/>
                    <a:pt x="87" y="330"/>
                    <a:pt x="81" y="342"/>
                  </a:cubicBezTo>
                  <a:cubicBezTo>
                    <a:pt x="78" y="342"/>
                    <a:pt x="78" y="342"/>
                    <a:pt x="75" y="342"/>
                  </a:cubicBezTo>
                  <a:cubicBezTo>
                    <a:pt x="75" y="330"/>
                    <a:pt x="69" y="318"/>
                    <a:pt x="66" y="309"/>
                  </a:cubicBezTo>
                  <a:cubicBezTo>
                    <a:pt x="72" y="306"/>
                    <a:pt x="72" y="294"/>
                    <a:pt x="72" y="294"/>
                  </a:cubicBezTo>
                  <a:cubicBezTo>
                    <a:pt x="72" y="288"/>
                    <a:pt x="72" y="282"/>
                    <a:pt x="75" y="276"/>
                  </a:cubicBezTo>
                  <a:cubicBezTo>
                    <a:pt x="66" y="264"/>
                    <a:pt x="66" y="249"/>
                    <a:pt x="66" y="240"/>
                  </a:cubicBezTo>
                  <a:cubicBezTo>
                    <a:pt x="69" y="234"/>
                    <a:pt x="75" y="231"/>
                    <a:pt x="78" y="228"/>
                  </a:cubicBezTo>
                  <a:cubicBezTo>
                    <a:pt x="75" y="219"/>
                    <a:pt x="75" y="213"/>
                    <a:pt x="75" y="204"/>
                  </a:cubicBezTo>
                  <a:cubicBezTo>
                    <a:pt x="72" y="198"/>
                    <a:pt x="69" y="192"/>
                    <a:pt x="66" y="189"/>
                  </a:cubicBezTo>
                  <a:cubicBezTo>
                    <a:pt x="63" y="177"/>
                    <a:pt x="57" y="162"/>
                    <a:pt x="54" y="156"/>
                  </a:cubicBezTo>
                  <a:cubicBezTo>
                    <a:pt x="42" y="141"/>
                    <a:pt x="27" y="126"/>
                    <a:pt x="27" y="111"/>
                  </a:cubicBezTo>
                  <a:cubicBezTo>
                    <a:pt x="21" y="108"/>
                    <a:pt x="15" y="105"/>
                    <a:pt x="9" y="99"/>
                  </a:cubicBezTo>
                  <a:cubicBezTo>
                    <a:pt x="6" y="99"/>
                    <a:pt x="6" y="96"/>
                    <a:pt x="6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87"/>
                    <a:pt x="0" y="78"/>
                    <a:pt x="3" y="75"/>
                  </a:cubicBezTo>
                  <a:cubicBezTo>
                    <a:pt x="15" y="69"/>
                    <a:pt x="15" y="57"/>
                    <a:pt x="15" y="48"/>
                  </a:cubicBezTo>
                  <a:cubicBezTo>
                    <a:pt x="12" y="42"/>
                    <a:pt x="6" y="36"/>
                    <a:pt x="3" y="33"/>
                  </a:cubicBezTo>
                  <a:cubicBezTo>
                    <a:pt x="3" y="27"/>
                    <a:pt x="3" y="24"/>
                    <a:pt x="3" y="21"/>
                  </a:cubicBezTo>
                  <a:cubicBezTo>
                    <a:pt x="15" y="21"/>
                    <a:pt x="27" y="18"/>
                    <a:pt x="39" y="18"/>
                  </a:cubicBezTo>
                  <a:cubicBezTo>
                    <a:pt x="45" y="21"/>
                    <a:pt x="54" y="30"/>
                    <a:pt x="57" y="39"/>
                  </a:cubicBezTo>
                  <a:cubicBezTo>
                    <a:pt x="57" y="54"/>
                    <a:pt x="72" y="69"/>
                    <a:pt x="87" y="84"/>
                  </a:cubicBezTo>
                  <a:cubicBezTo>
                    <a:pt x="90" y="84"/>
                    <a:pt x="96" y="81"/>
                    <a:pt x="102" y="93"/>
                  </a:cubicBezTo>
                  <a:cubicBezTo>
                    <a:pt x="108" y="93"/>
                    <a:pt x="111" y="90"/>
                    <a:pt x="119" y="87"/>
                  </a:cubicBezTo>
                  <a:cubicBezTo>
                    <a:pt x="119" y="84"/>
                    <a:pt x="122" y="84"/>
                    <a:pt x="122" y="84"/>
                  </a:cubicBezTo>
                  <a:cubicBezTo>
                    <a:pt x="122" y="87"/>
                    <a:pt x="125" y="87"/>
                    <a:pt x="125" y="87"/>
                  </a:cubicBezTo>
                  <a:cubicBezTo>
                    <a:pt x="125" y="93"/>
                    <a:pt x="134" y="96"/>
                    <a:pt x="143" y="96"/>
                  </a:cubicBezTo>
                  <a:cubicBezTo>
                    <a:pt x="143" y="96"/>
                    <a:pt x="146" y="99"/>
                    <a:pt x="146" y="102"/>
                  </a:cubicBezTo>
                  <a:cubicBezTo>
                    <a:pt x="149" y="102"/>
                    <a:pt x="152" y="102"/>
                    <a:pt x="158" y="102"/>
                  </a:cubicBezTo>
                  <a:cubicBezTo>
                    <a:pt x="158" y="99"/>
                    <a:pt x="161" y="96"/>
                    <a:pt x="167" y="93"/>
                  </a:cubicBezTo>
                  <a:cubicBezTo>
                    <a:pt x="173" y="93"/>
                    <a:pt x="182" y="90"/>
                    <a:pt x="188" y="90"/>
                  </a:cubicBezTo>
                  <a:cubicBezTo>
                    <a:pt x="191" y="87"/>
                    <a:pt x="191" y="84"/>
                    <a:pt x="191" y="84"/>
                  </a:cubicBezTo>
                  <a:cubicBezTo>
                    <a:pt x="191" y="66"/>
                    <a:pt x="179" y="45"/>
                    <a:pt x="188" y="39"/>
                  </a:cubicBezTo>
                  <a:cubicBezTo>
                    <a:pt x="191" y="42"/>
                    <a:pt x="194" y="48"/>
                    <a:pt x="203" y="51"/>
                  </a:cubicBezTo>
                  <a:cubicBezTo>
                    <a:pt x="206" y="54"/>
                    <a:pt x="206" y="54"/>
                    <a:pt x="209" y="57"/>
                  </a:cubicBezTo>
                  <a:cubicBezTo>
                    <a:pt x="215" y="60"/>
                    <a:pt x="224" y="60"/>
                    <a:pt x="236" y="57"/>
                  </a:cubicBezTo>
                  <a:cubicBezTo>
                    <a:pt x="239" y="54"/>
                    <a:pt x="239" y="51"/>
                    <a:pt x="242" y="48"/>
                  </a:cubicBezTo>
                  <a:cubicBezTo>
                    <a:pt x="242" y="33"/>
                    <a:pt x="239" y="27"/>
                    <a:pt x="236" y="21"/>
                  </a:cubicBezTo>
                  <a:cubicBezTo>
                    <a:pt x="242" y="15"/>
                    <a:pt x="254" y="0"/>
                    <a:pt x="263" y="9"/>
                  </a:cubicBezTo>
                  <a:cubicBezTo>
                    <a:pt x="266" y="15"/>
                    <a:pt x="269" y="21"/>
                    <a:pt x="284" y="30"/>
                  </a:cubicBezTo>
                  <a:cubicBezTo>
                    <a:pt x="287" y="33"/>
                    <a:pt x="290" y="33"/>
                    <a:pt x="296" y="36"/>
                  </a:cubicBezTo>
                  <a:cubicBezTo>
                    <a:pt x="302" y="45"/>
                    <a:pt x="314" y="51"/>
                    <a:pt x="323" y="66"/>
                  </a:cubicBezTo>
                  <a:cubicBezTo>
                    <a:pt x="323" y="69"/>
                    <a:pt x="326" y="72"/>
                    <a:pt x="326" y="75"/>
                  </a:cubicBezTo>
                  <a:cubicBezTo>
                    <a:pt x="329" y="81"/>
                    <a:pt x="338" y="96"/>
                    <a:pt x="347" y="99"/>
                  </a:cubicBezTo>
                  <a:cubicBezTo>
                    <a:pt x="359" y="99"/>
                    <a:pt x="371" y="99"/>
                    <a:pt x="383" y="99"/>
                  </a:cubicBezTo>
                  <a:cubicBezTo>
                    <a:pt x="392" y="93"/>
                    <a:pt x="395" y="90"/>
                    <a:pt x="406" y="90"/>
                  </a:cubicBezTo>
                  <a:cubicBezTo>
                    <a:pt x="415" y="93"/>
                    <a:pt x="421" y="96"/>
                    <a:pt x="430" y="99"/>
                  </a:cubicBezTo>
                  <a:cubicBezTo>
                    <a:pt x="436" y="99"/>
                    <a:pt x="442" y="99"/>
                    <a:pt x="451" y="99"/>
                  </a:cubicBezTo>
                  <a:cubicBezTo>
                    <a:pt x="457" y="105"/>
                    <a:pt x="460" y="111"/>
                    <a:pt x="475" y="111"/>
                  </a:cubicBezTo>
                  <a:cubicBezTo>
                    <a:pt x="478" y="114"/>
                    <a:pt x="484" y="117"/>
                    <a:pt x="487" y="120"/>
                  </a:cubicBezTo>
                  <a:cubicBezTo>
                    <a:pt x="487" y="129"/>
                    <a:pt x="487" y="138"/>
                    <a:pt x="487" y="147"/>
                  </a:cubicBezTo>
                  <a:cubicBezTo>
                    <a:pt x="475" y="156"/>
                    <a:pt x="469" y="171"/>
                    <a:pt x="466" y="186"/>
                  </a:cubicBezTo>
                  <a:cubicBezTo>
                    <a:pt x="460" y="195"/>
                    <a:pt x="451" y="207"/>
                    <a:pt x="439" y="216"/>
                  </a:cubicBezTo>
                  <a:cubicBezTo>
                    <a:pt x="418" y="222"/>
                    <a:pt x="418" y="213"/>
                    <a:pt x="406" y="204"/>
                  </a:cubicBezTo>
                  <a:cubicBezTo>
                    <a:pt x="401" y="195"/>
                    <a:pt x="389" y="192"/>
                    <a:pt x="386" y="195"/>
                  </a:cubicBezTo>
                  <a:cubicBezTo>
                    <a:pt x="386" y="195"/>
                    <a:pt x="383" y="195"/>
                    <a:pt x="383" y="198"/>
                  </a:cubicBezTo>
                  <a:cubicBezTo>
                    <a:pt x="383" y="204"/>
                    <a:pt x="383" y="210"/>
                    <a:pt x="383" y="216"/>
                  </a:cubicBezTo>
                  <a:cubicBezTo>
                    <a:pt x="386" y="225"/>
                    <a:pt x="389" y="234"/>
                    <a:pt x="389" y="246"/>
                  </a:cubicBezTo>
                  <a:cubicBezTo>
                    <a:pt x="386" y="255"/>
                    <a:pt x="383" y="267"/>
                    <a:pt x="386" y="279"/>
                  </a:cubicBezTo>
                  <a:cubicBezTo>
                    <a:pt x="389" y="282"/>
                    <a:pt x="392" y="285"/>
                    <a:pt x="395" y="288"/>
                  </a:cubicBezTo>
                  <a:cubicBezTo>
                    <a:pt x="401" y="291"/>
                    <a:pt x="412" y="309"/>
                    <a:pt x="401" y="324"/>
                  </a:cubicBezTo>
                  <a:cubicBezTo>
                    <a:pt x="389" y="330"/>
                    <a:pt x="389" y="327"/>
                    <a:pt x="389" y="342"/>
                  </a:cubicBezTo>
                  <a:cubicBezTo>
                    <a:pt x="395" y="354"/>
                    <a:pt x="412" y="351"/>
                    <a:pt x="424" y="366"/>
                  </a:cubicBezTo>
                  <a:cubicBezTo>
                    <a:pt x="424" y="369"/>
                    <a:pt x="424" y="381"/>
                    <a:pt x="421" y="387"/>
                  </a:cubicBezTo>
                  <a:cubicBezTo>
                    <a:pt x="406" y="387"/>
                    <a:pt x="392" y="384"/>
                    <a:pt x="383" y="381"/>
                  </a:cubicBezTo>
                  <a:cubicBezTo>
                    <a:pt x="383" y="372"/>
                    <a:pt x="380" y="363"/>
                    <a:pt x="377" y="357"/>
                  </a:cubicBezTo>
                  <a:cubicBezTo>
                    <a:pt x="365" y="357"/>
                    <a:pt x="362" y="366"/>
                    <a:pt x="353" y="369"/>
                  </a:cubicBezTo>
                  <a:cubicBezTo>
                    <a:pt x="350" y="369"/>
                    <a:pt x="344" y="369"/>
                    <a:pt x="341" y="369"/>
                  </a:cubicBezTo>
                  <a:cubicBezTo>
                    <a:pt x="326" y="357"/>
                    <a:pt x="323" y="342"/>
                    <a:pt x="323" y="333"/>
                  </a:cubicBezTo>
                  <a:cubicBezTo>
                    <a:pt x="320" y="330"/>
                    <a:pt x="317" y="327"/>
                    <a:pt x="317" y="324"/>
                  </a:cubicBezTo>
                  <a:cubicBezTo>
                    <a:pt x="296" y="324"/>
                    <a:pt x="290" y="321"/>
                    <a:pt x="287" y="342"/>
                  </a:cubicBezTo>
                  <a:cubicBezTo>
                    <a:pt x="281" y="348"/>
                    <a:pt x="278" y="345"/>
                    <a:pt x="272" y="348"/>
                  </a:cubicBezTo>
                  <a:cubicBezTo>
                    <a:pt x="272" y="351"/>
                    <a:pt x="272" y="354"/>
                    <a:pt x="272" y="357"/>
                  </a:cubicBezTo>
                  <a:cubicBezTo>
                    <a:pt x="278" y="363"/>
                    <a:pt x="287" y="372"/>
                    <a:pt x="281" y="387"/>
                  </a:cubicBezTo>
                  <a:cubicBezTo>
                    <a:pt x="278" y="396"/>
                    <a:pt x="263" y="402"/>
                    <a:pt x="254" y="408"/>
                  </a:cubicBezTo>
                  <a:cubicBezTo>
                    <a:pt x="254" y="408"/>
                    <a:pt x="254" y="411"/>
                    <a:pt x="251" y="411"/>
                  </a:cubicBezTo>
                  <a:cubicBezTo>
                    <a:pt x="251" y="417"/>
                    <a:pt x="251" y="423"/>
                    <a:pt x="251" y="432"/>
                  </a:cubicBezTo>
                  <a:cubicBezTo>
                    <a:pt x="257" y="441"/>
                    <a:pt x="266" y="435"/>
                    <a:pt x="266" y="456"/>
                  </a:cubicBezTo>
                  <a:cubicBezTo>
                    <a:pt x="263" y="459"/>
                    <a:pt x="263" y="462"/>
                    <a:pt x="263" y="465"/>
                  </a:cubicBezTo>
                  <a:cubicBezTo>
                    <a:pt x="257" y="468"/>
                    <a:pt x="254" y="468"/>
                    <a:pt x="251" y="471"/>
                  </a:cubicBezTo>
                  <a:cubicBezTo>
                    <a:pt x="239" y="474"/>
                    <a:pt x="227" y="480"/>
                    <a:pt x="218" y="483"/>
                  </a:cubicBezTo>
                  <a:close/>
                </a:path>
              </a:pathLst>
            </a:custGeom>
            <a:solidFill>
              <a:schemeClr val="accent3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auto">
            <a:xfrm>
              <a:off x="5587712" y="4583619"/>
              <a:ext cx="1046898" cy="1017333"/>
            </a:xfrm>
            <a:custGeom>
              <a:avLst/>
              <a:gdLst>
                <a:gd name="T0" fmla="*/ 1233742555 w 439"/>
                <a:gd name="T1" fmla="*/ 2147483647 h 470"/>
                <a:gd name="T2" fmla="*/ 1171710999 w 439"/>
                <a:gd name="T3" fmla="*/ 2147483647 h 470"/>
                <a:gd name="T4" fmla="*/ 889121924 w 439"/>
                <a:gd name="T5" fmla="*/ 2147483647 h 470"/>
                <a:gd name="T6" fmla="*/ 599641165 w 439"/>
                <a:gd name="T7" fmla="*/ 2147483647 h 470"/>
                <a:gd name="T8" fmla="*/ 558286794 w 439"/>
                <a:gd name="T9" fmla="*/ 2147483647 h 470"/>
                <a:gd name="T10" fmla="*/ 392866686 w 439"/>
                <a:gd name="T11" fmla="*/ 2147483647 h 470"/>
                <a:gd name="T12" fmla="*/ 206771936 w 439"/>
                <a:gd name="T13" fmla="*/ 1947332392 h 470"/>
                <a:gd name="T14" fmla="*/ 0 w 439"/>
                <a:gd name="T15" fmla="*/ 2030198020 h 470"/>
                <a:gd name="T16" fmla="*/ 62031577 w 439"/>
                <a:gd name="T17" fmla="*/ 1595154789 h 470"/>
                <a:gd name="T18" fmla="*/ 372189501 w 439"/>
                <a:gd name="T19" fmla="*/ 1305127392 h 470"/>
                <a:gd name="T20" fmla="*/ 413543871 w 439"/>
                <a:gd name="T21" fmla="*/ 1097963324 h 470"/>
                <a:gd name="T22" fmla="*/ 434223682 w 439"/>
                <a:gd name="T23" fmla="*/ 642204836 h 470"/>
                <a:gd name="T24" fmla="*/ 289480677 w 439"/>
                <a:gd name="T25" fmla="*/ 414325674 h 470"/>
                <a:gd name="T26" fmla="*/ 413543871 w 439"/>
                <a:gd name="T27" fmla="*/ 82865648 h 470"/>
                <a:gd name="T28" fmla="*/ 640995536 w 439"/>
                <a:gd name="T29" fmla="*/ 352177767 h 470"/>
                <a:gd name="T30" fmla="*/ 744381627 w 439"/>
                <a:gd name="T31" fmla="*/ 186446430 h 470"/>
                <a:gd name="T32" fmla="*/ 868444739 w 439"/>
                <a:gd name="T33" fmla="*/ 331459964 h 470"/>
                <a:gd name="T34" fmla="*/ 1130356629 w 439"/>
                <a:gd name="T35" fmla="*/ 538624115 h 470"/>
                <a:gd name="T36" fmla="*/ 1378483181 w 439"/>
                <a:gd name="T37" fmla="*/ 932234696 h 470"/>
                <a:gd name="T38" fmla="*/ 1337128482 w 439"/>
                <a:gd name="T39" fmla="*/ 1139396137 h 470"/>
                <a:gd name="T40" fmla="*/ 1626612031 w 439"/>
                <a:gd name="T41" fmla="*/ 1346560206 h 470"/>
                <a:gd name="T42" fmla="*/ 1978124182 w 439"/>
                <a:gd name="T43" fmla="*/ 1222261765 h 470"/>
                <a:gd name="T44" fmla="*/ 1916092626 w 439"/>
                <a:gd name="T45" fmla="*/ 932234696 h 470"/>
                <a:gd name="T46" fmla="*/ 2122864480 w 439"/>
                <a:gd name="T47" fmla="*/ 642204836 h 470"/>
                <a:gd name="T48" fmla="*/ 2060832924 w 439"/>
                <a:gd name="T49" fmla="*/ 435043395 h 470"/>
                <a:gd name="T50" fmla="*/ 2102187294 w 439"/>
                <a:gd name="T51" fmla="*/ 393610581 h 470"/>
                <a:gd name="T52" fmla="*/ 2147483647 w 439"/>
                <a:gd name="T53" fmla="*/ 455758488 h 470"/>
                <a:gd name="T54" fmla="*/ 2147483647 w 439"/>
                <a:gd name="T55" fmla="*/ 559339208 h 470"/>
                <a:gd name="T56" fmla="*/ 2147483647 w 439"/>
                <a:gd name="T57" fmla="*/ 497191302 h 470"/>
                <a:gd name="T58" fmla="*/ 2147483647 w 439"/>
                <a:gd name="T59" fmla="*/ 745785721 h 470"/>
                <a:gd name="T60" fmla="*/ 2147483647 w 439"/>
                <a:gd name="T61" fmla="*/ 787218534 h 470"/>
                <a:gd name="T62" fmla="*/ 2147483647 w 439"/>
                <a:gd name="T63" fmla="*/ 994382603 h 470"/>
                <a:gd name="T64" fmla="*/ 2147483647 w 439"/>
                <a:gd name="T65" fmla="*/ 1180828951 h 470"/>
                <a:gd name="T66" fmla="*/ 2147483647 w 439"/>
                <a:gd name="T67" fmla="*/ 1574439696 h 470"/>
                <a:gd name="T68" fmla="*/ 2147483647 w 439"/>
                <a:gd name="T69" fmla="*/ 1885184486 h 470"/>
                <a:gd name="T70" fmla="*/ 2147483647 w 439"/>
                <a:gd name="T71" fmla="*/ 2071630834 h 470"/>
                <a:gd name="T72" fmla="*/ 2147483647 w 439"/>
                <a:gd name="T73" fmla="*/ 2113063647 h 470"/>
                <a:gd name="T74" fmla="*/ 2147483647 w 439"/>
                <a:gd name="T75" fmla="*/ 2147483647 h 470"/>
                <a:gd name="T76" fmla="*/ 2147483647 w 439"/>
                <a:gd name="T77" fmla="*/ 2147483647 h 470"/>
                <a:gd name="T78" fmla="*/ 2147483647 w 439"/>
                <a:gd name="T79" fmla="*/ 2147483647 h 470"/>
                <a:gd name="T80" fmla="*/ 1978124182 w 439"/>
                <a:gd name="T81" fmla="*/ 2147483647 h 470"/>
                <a:gd name="T82" fmla="*/ 1626612031 w 439"/>
                <a:gd name="T83" fmla="*/ 2147483647 h 470"/>
                <a:gd name="T84" fmla="*/ 1419837552 w 439"/>
                <a:gd name="T85" fmla="*/ 2147483647 h 470"/>
                <a:gd name="T86" fmla="*/ 1399160367 w 439"/>
                <a:gd name="T87" fmla="*/ 2147483647 h 470"/>
                <a:gd name="T88" fmla="*/ 1399160367 w 439"/>
                <a:gd name="T89" fmla="*/ 2147483647 h 47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9"/>
                <a:gd name="T136" fmla="*/ 0 h 470"/>
                <a:gd name="T137" fmla="*/ 439 w 439"/>
                <a:gd name="T138" fmla="*/ 470 h 47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9" h="470">
                  <a:moveTo>
                    <a:pt x="203" y="470"/>
                  </a:moveTo>
                  <a:cubicBezTo>
                    <a:pt x="194" y="461"/>
                    <a:pt x="185" y="455"/>
                    <a:pt x="179" y="452"/>
                  </a:cubicBezTo>
                  <a:cubicBezTo>
                    <a:pt x="179" y="440"/>
                    <a:pt x="179" y="434"/>
                    <a:pt x="176" y="425"/>
                  </a:cubicBezTo>
                  <a:cubicBezTo>
                    <a:pt x="173" y="425"/>
                    <a:pt x="173" y="422"/>
                    <a:pt x="170" y="422"/>
                  </a:cubicBezTo>
                  <a:cubicBezTo>
                    <a:pt x="158" y="422"/>
                    <a:pt x="149" y="428"/>
                    <a:pt x="143" y="437"/>
                  </a:cubicBezTo>
                  <a:cubicBezTo>
                    <a:pt x="140" y="437"/>
                    <a:pt x="135" y="434"/>
                    <a:pt x="129" y="434"/>
                  </a:cubicBezTo>
                  <a:cubicBezTo>
                    <a:pt x="126" y="425"/>
                    <a:pt x="123" y="419"/>
                    <a:pt x="117" y="416"/>
                  </a:cubicBezTo>
                  <a:cubicBezTo>
                    <a:pt x="105" y="398"/>
                    <a:pt x="105" y="404"/>
                    <a:pt x="87" y="401"/>
                  </a:cubicBezTo>
                  <a:cubicBezTo>
                    <a:pt x="78" y="392"/>
                    <a:pt x="81" y="380"/>
                    <a:pt x="81" y="374"/>
                  </a:cubicBezTo>
                  <a:cubicBezTo>
                    <a:pt x="84" y="362"/>
                    <a:pt x="87" y="353"/>
                    <a:pt x="81" y="344"/>
                  </a:cubicBezTo>
                  <a:cubicBezTo>
                    <a:pt x="60" y="338"/>
                    <a:pt x="63" y="341"/>
                    <a:pt x="63" y="329"/>
                  </a:cubicBezTo>
                  <a:cubicBezTo>
                    <a:pt x="60" y="323"/>
                    <a:pt x="57" y="318"/>
                    <a:pt x="57" y="312"/>
                  </a:cubicBezTo>
                  <a:cubicBezTo>
                    <a:pt x="54" y="309"/>
                    <a:pt x="54" y="306"/>
                    <a:pt x="51" y="303"/>
                  </a:cubicBezTo>
                  <a:cubicBezTo>
                    <a:pt x="48" y="285"/>
                    <a:pt x="45" y="282"/>
                    <a:pt x="30" y="282"/>
                  </a:cubicBezTo>
                  <a:cubicBezTo>
                    <a:pt x="21" y="288"/>
                    <a:pt x="9" y="294"/>
                    <a:pt x="3" y="294"/>
                  </a:cubicBezTo>
                  <a:cubicBezTo>
                    <a:pt x="3" y="294"/>
                    <a:pt x="3" y="294"/>
                    <a:pt x="0" y="294"/>
                  </a:cubicBezTo>
                  <a:cubicBezTo>
                    <a:pt x="0" y="279"/>
                    <a:pt x="0" y="264"/>
                    <a:pt x="0" y="249"/>
                  </a:cubicBezTo>
                  <a:cubicBezTo>
                    <a:pt x="3" y="243"/>
                    <a:pt x="6" y="237"/>
                    <a:pt x="9" y="231"/>
                  </a:cubicBezTo>
                  <a:cubicBezTo>
                    <a:pt x="18" y="216"/>
                    <a:pt x="27" y="213"/>
                    <a:pt x="42" y="201"/>
                  </a:cubicBezTo>
                  <a:cubicBezTo>
                    <a:pt x="45" y="198"/>
                    <a:pt x="51" y="195"/>
                    <a:pt x="54" y="189"/>
                  </a:cubicBezTo>
                  <a:cubicBezTo>
                    <a:pt x="54" y="183"/>
                    <a:pt x="54" y="174"/>
                    <a:pt x="57" y="168"/>
                  </a:cubicBezTo>
                  <a:cubicBezTo>
                    <a:pt x="57" y="165"/>
                    <a:pt x="60" y="162"/>
                    <a:pt x="60" y="159"/>
                  </a:cubicBezTo>
                  <a:cubicBezTo>
                    <a:pt x="60" y="147"/>
                    <a:pt x="60" y="129"/>
                    <a:pt x="66" y="123"/>
                  </a:cubicBezTo>
                  <a:cubicBezTo>
                    <a:pt x="66" y="111"/>
                    <a:pt x="69" y="102"/>
                    <a:pt x="63" y="93"/>
                  </a:cubicBezTo>
                  <a:cubicBezTo>
                    <a:pt x="57" y="87"/>
                    <a:pt x="48" y="81"/>
                    <a:pt x="42" y="75"/>
                  </a:cubicBezTo>
                  <a:cubicBezTo>
                    <a:pt x="42" y="69"/>
                    <a:pt x="42" y="66"/>
                    <a:pt x="42" y="60"/>
                  </a:cubicBezTo>
                  <a:cubicBezTo>
                    <a:pt x="48" y="60"/>
                    <a:pt x="54" y="57"/>
                    <a:pt x="63" y="54"/>
                  </a:cubicBezTo>
                  <a:cubicBezTo>
                    <a:pt x="69" y="39"/>
                    <a:pt x="60" y="21"/>
                    <a:pt x="60" y="12"/>
                  </a:cubicBezTo>
                  <a:cubicBezTo>
                    <a:pt x="66" y="6"/>
                    <a:pt x="69" y="0"/>
                    <a:pt x="78" y="9"/>
                  </a:cubicBezTo>
                  <a:cubicBezTo>
                    <a:pt x="84" y="21"/>
                    <a:pt x="90" y="33"/>
                    <a:pt x="93" y="51"/>
                  </a:cubicBezTo>
                  <a:cubicBezTo>
                    <a:pt x="96" y="54"/>
                    <a:pt x="96" y="54"/>
                    <a:pt x="105" y="54"/>
                  </a:cubicBezTo>
                  <a:cubicBezTo>
                    <a:pt x="111" y="45"/>
                    <a:pt x="108" y="33"/>
                    <a:pt x="108" y="27"/>
                  </a:cubicBezTo>
                  <a:cubicBezTo>
                    <a:pt x="111" y="24"/>
                    <a:pt x="114" y="24"/>
                    <a:pt x="117" y="21"/>
                  </a:cubicBezTo>
                  <a:cubicBezTo>
                    <a:pt x="120" y="27"/>
                    <a:pt x="123" y="36"/>
                    <a:pt x="126" y="48"/>
                  </a:cubicBezTo>
                  <a:cubicBezTo>
                    <a:pt x="132" y="54"/>
                    <a:pt x="135" y="66"/>
                    <a:pt x="146" y="75"/>
                  </a:cubicBezTo>
                  <a:cubicBezTo>
                    <a:pt x="152" y="75"/>
                    <a:pt x="158" y="78"/>
                    <a:pt x="164" y="78"/>
                  </a:cubicBezTo>
                  <a:cubicBezTo>
                    <a:pt x="170" y="90"/>
                    <a:pt x="176" y="102"/>
                    <a:pt x="182" y="114"/>
                  </a:cubicBezTo>
                  <a:cubicBezTo>
                    <a:pt x="188" y="120"/>
                    <a:pt x="194" y="129"/>
                    <a:pt x="200" y="135"/>
                  </a:cubicBezTo>
                  <a:cubicBezTo>
                    <a:pt x="200" y="138"/>
                    <a:pt x="200" y="141"/>
                    <a:pt x="203" y="144"/>
                  </a:cubicBezTo>
                  <a:cubicBezTo>
                    <a:pt x="194" y="153"/>
                    <a:pt x="194" y="150"/>
                    <a:pt x="194" y="165"/>
                  </a:cubicBezTo>
                  <a:cubicBezTo>
                    <a:pt x="200" y="174"/>
                    <a:pt x="203" y="180"/>
                    <a:pt x="221" y="186"/>
                  </a:cubicBezTo>
                  <a:cubicBezTo>
                    <a:pt x="224" y="189"/>
                    <a:pt x="224" y="192"/>
                    <a:pt x="236" y="195"/>
                  </a:cubicBezTo>
                  <a:cubicBezTo>
                    <a:pt x="239" y="195"/>
                    <a:pt x="245" y="195"/>
                    <a:pt x="248" y="192"/>
                  </a:cubicBezTo>
                  <a:cubicBezTo>
                    <a:pt x="260" y="189"/>
                    <a:pt x="272" y="183"/>
                    <a:pt x="287" y="177"/>
                  </a:cubicBezTo>
                  <a:cubicBezTo>
                    <a:pt x="293" y="165"/>
                    <a:pt x="293" y="159"/>
                    <a:pt x="293" y="150"/>
                  </a:cubicBezTo>
                  <a:cubicBezTo>
                    <a:pt x="287" y="141"/>
                    <a:pt x="281" y="138"/>
                    <a:pt x="278" y="135"/>
                  </a:cubicBezTo>
                  <a:cubicBezTo>
                    <a:pt x="278" y="123"/>
                    <a:pt x="275" y="123"/>
                    <a:pt x="281" y="117"/>
                  </a:cubicBezTo>
                  <a:cubicBezTo>
                    <a:pt x="290" y="111"/>
                    <a:pt x="302" y="105"/>
                    <a:pt x="308" y="93"/>
                  </a:cubicBezTo>
                  <a:cubicBezTo>
                    <a:pt x="308" y="87"/>
                    <a:pt x="308" y="84"/>
                    <a:pt x="308" y="81"/>
                  </a:cubicBezTo>
                  <a:cubicBezTo>
                    <a:pt x="305" y="69"/>
                    <a:pt x="302" y="66"/>
                    <a:pt x="299" y="63"/>
                  </a:cubicBezTo>
                  <a:cubicBezTo>
                    <a:pt x="299" y="60"/>
                    <a:pt x="299" y="60"/>
                    <a:pt x="299" y="60"/>
                  </a:cubicBezTo>
                  <a:cubicBezTo>
                    <a:pt x="302" y="57"/>
                    <a:pt x="305" y="57"/>
                    <a:pt x="305" y="57"/>
                  </a:cubicBezTo>
                  <a:cubicBezTo>
                    <a:pt x="323" y="42"/>
                    <a:pt x="305" y="33"/>
                    <a:pt x="335" y="36"/>
                  </a:cubicBezTo>
                  <a:cubicBezTo>
                    <a:pt x="338" y="45"/>
                    <a:pt x="344" y="57"/>
                    <a:pt x="347" y="66"/>
                  </a:cubicBezTo>
                  <a:cubicBezTo>
                    <a:pt x="350" y="72"/>
                    <a:pt x="353" y="75"/>
                    <a:pt x="359" y="81"/>
                  </a:cubicBezTo>
                  <a:cubicBezTo>
                    <a:pt x="365" y="81"/>
                    <a:pt x="371" y="81"/>
                    <a:pt x="377" y="81"/>
                  </a:cubicBezTo>
                  <a:cubicBezTo>
                    <a:pt x="383" y="75"/>
                    <a:pt x="389" y="72"/>
                    <a:pt x="395" y="69"/>
                  </a:cubicBezTo>
                  <a:cubicBezTo>
                    <a:pt x="395" y="69"/>
                    <a:pt x="395" y="72"/>
                    <a:pt x="398" y="72"/>
                  </a:cubicBezTo>
                  <a:cubicBezTo>
                    <a:pt x="398" y="81"/>
                    <a:pt x="398" y="99"/>
                    <a:pt x="389" y="105"/>
                  </a:cubicBezTo>
                  <a:cubicBezTo>
                    <a:pt x="383" y="108"/>
                    <a:pt x="380" y="108"/>
                    <a:pt x="377" y="108"/>
                  </a:cubicBezTo>
                  <a:cubicBezTo>
                    <a:pt x="371" y="105"/>
                    <a:pt x="365" y="102"/>
                    <a:pt x="359" y="99"/>
                  </a:cubicBezTo>
                  <a:cubicBezTo>
                    <a:pt x="338" y="99"/>
                    <a:pt x="335" y="102"/>
                    <a:pt x="320" y="114"/>
                  </a:cubicBezTo>
                  <a:cubicBezTo>
                    <a:pt x="317" y="117"/>
                    <a:pt x="317" y="120"/>
                    <a:pt x="314" y="123"/>
                  </a:cubicBezTo>
                  <a:cubicBezTo>
                    <a:pt x="314" y="129"/>
                    <a:pt x="311" y="135"/>
                    <a:pt x="317" y="144"/>
                  </a:cubicBezTo>
                  <a:cubicBezTo>
                    <a:pt x="317" y="150"/>
                    <a:pt x="323" y="165"/>
                    <a:pt x="338" y="156"/>
                  </a:cubicBezTo>
                  <a:cubicBezTo>
                    <a:pt x="350" y="156"/>
                    <a:pt x="359" y="150"/>
                    <a:pt x="359" y="171"/>
                  </a:cubicBezTo>
                  <a:cubicBezTo>
                    <a:pt x="356" y="177"/>
                    <a:pt x="353" y="186"/>
                    <a:pt x="350" y="195"/>
                  </a:cubicBezTo>
                  <a:cubicBezTo>
                    <a:pt x="338" y="210"/>
                    <a:pt x="344" y="219"/>
                    <a:pt x="365" y="228"/>
                  </a:cubicBezTo>
                  <a:cubicBezTo>
                    <a:pt x="365" y="231"/>
                    <a:pt x="365" y="237"/>
                    <a:pt x="365" y="240"/>
                  </a:cubicBezTo>
                  <a:cubicBezTo>
                    <a:pt x="365" y="246"/>
                    <a:pt x="356" y="261"/>
                    <a:pt x="365" y="273"/>
                  </a:cubicBezTo>
                  <a:cubicBezTo>
                    <a:pt x="368" y="279"/>
                    <a:pt x="374" y="285"/>
                    <a:pt x="380" y="291"/>
                  </a:cubicBezTo>
                  <a:cubicBezTo>
                    <a:pt x="389" y="294"/>
                    <a:pt x="401" y="297"/>
                    <a:pt x="413" y="300"/>
                  </a:cubicBezTo>
                  <a:cubicBezTo>
                    <a:pt x="416" y="300"/>
                    <a:pt x="419" y="303"/>
                    <a:pt x="425" y="306"/>
                  </a:cubicBezTo>
                  <a:cubicBezTo>
                    <a:pt x="427" y="306"/>
                    <a:pt x="433" y="306"/>
                    <a:pt x="436" y="306"/>
                  </a:cubicBezTo>
                  <a:cubicBezTo>
                    <a:pt x="436" y="312"/>
                    <a:pt x="439" y="315"/>
                    <a:pt x="439" y="318"/>
                  </a:cubicBezTo>
                  <a:cubicBezTo>
                    <a:pt x="436" y="320"/>
                    <a:pt x="436" y="323"/>
                    <a:pt x="433" y="326"/>
                  </a:cubicBezTo>
                  <a:cubicBezTo>
                    <a:pt x="427" y="332"/>
                    <a:pt x="422" y="335"/>
                    <a:pt x="416" y="335"/>
                  </a:cubicBezTo>
                  <a:cubicBezTo>
                    <a:pt x="395" y="335"/>
                    <a:pt x="386" y="344"/>
                    <a:pt x="371" y="353"/>
                  </a:cubicBezTo>
                  <a:cubicBezTo>
                    <a:pt x="368" y="359"/>
                    <a:pt x="365" y="365"/>
                    <a:pt x="359" y="371"/>
                  </a:cubicBezTo>
                  <a:cubicBezTo>
                    <a:pt x="353" y="371"/>
                    <a:pt x="347" y="371"/>
                    <a:pt x="341" y="371"/>
                  </a:cubicBezTo>
                  <a:cubicBezTo>
                    <a:pt x="335" y="374"/>
                    <a:pt x="326" y="389"/>
                    <a:pt x="317" y="386"/>
                  </a:cubicBezTo>
                  <a:cubicBezTo>
                    <a:pt x="305" y="368"/>
                    <a:pt x="296" y="374"/>
                    <a:pt x="287" y="383"/>
                  </a:cubicBezTo>
                  <a:cubicBezTo>
                    <a:pt x="272" y="386"/>
                    <a:pt x="269" y="377"/>
                    <a:pt x="263" y="374"/>
                  </a:cubicBezTo>
                  <a:cubicBezTo>
                    <a:pt x="245" y="368"/>
                    <a:pt x="242" y="377"/>
                    <a:pt x="236" y="386"/>
                  </a:cubicBezTo>
                  <a:cubicBezTo>
                    <a:pt x="230" y="392"/>
                    <a:pt x="218" y="383"/>
                    <a:pt x="215" y="383"/>
                  </a:cubicBezTo>
                  <a:cubicBezTo>
                    <a:pt x="212" y="383"/>
                    <a:pt x="209" y="383"/>
                    <a:pt x="206" y="383"/>
                  </a:cubicBezTo>
                  <a:cubicBezTo>
                    <a:pt x="197" y="392"/>
                    <a:pt x="197" y="389"/>
                    <a:pt x="197" y="404"/>
                  </a:cubicBezTo>
                  <a:cubicBezTo>
                    <a:pt x="203" y="413"/>
                    <a:pt x="209" y="419"/>
                    <a:pt x="203" y="434"/>
                  </a:cubicBezTo>
                  <a:cubicBezTo>
                    <a:pt x="203" y="440"/>
                    <a:pt x="209" y="449"/>
                    <a:pt x="209" y="464"/>
                  </a:cubicBezTo>
                  <a:cubicBezTo>
                    <a:pt x="206" y="467"/>
                    <a:pt x="203" y="470"/>
                    <a:pt x="203" y="470"/>
                  </a:cubicBezTo>
                  <a:close/>
                </a:path>
              </a:pathLst>
            </a:custGeom>
            <a:solidFill>
              <a:schemeClr val="accent3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latin typeface="+mj-ea"/>
                <a:ea typeface="+mj-ea"/>
              </a:endParaRPr>
            </a:p>
          </p:txBody>
        </p:sp>
        <p:sp>
          <p:nvSpPr>
            <p:cNvPr id="25" name="Freeform 29"/>
            <p:cNvSpPr>
              <a:spLocks/>
            </p:cNvSpPr>
            <p:nvPr/>
          </p:nvSpPr>
          <p:spPr bwMode="auto">
            <a:xfrm>
              <a:off x="6558183" y="4187406"/>
              <a:ext cx="555174" cy="532203"/>
            </a:xfrm>
            <a:custGeom>
              <a:avLst/>
              <a:gdLst>
                <a:gd name="T0" fmla="*/ 1293585949 w 233"/>
                <a:gd name="T1" fmla="*/ 1697000271 h 246"/>
                <a:gd name="T2" fmla="*/ 1045879124 w 233"/>
                <a:gd name="T3" fmla="*/ 1448659185 h 246"/>
                <a:gd name="T4" fmla="*/ 736242971 w 233"/>
                <a:gd name="T5" fmla="*/ 1221011766 h 246"/>
                <a:gd name="T6" fmla="*/ 694960249 w 233"/>
                <a:gd name="T7" fmla="*/ 1324487000 h 246"/>
                <a:gd name="T8" fmla="*/ 529821327 w 233"/>
                <a:gd name="T9" fmla="*/ 1490049803 h 246"/>
                <a:gd name="T10" fmla="*/ 529821327 w 233"/>
                <a:gd name="T11" fmla="*/ 1510743800 h 246"/>
                <a:gd name="T12" fmla="*/ 488535982 w 233"/>
                <a:gd name="T13" fmla="*/ 1531440422 h 246"/>
                <a:gd name="T14" fmla="*/ 405965292 w 233"/>
                <a:gd name="T15" fmla="*/ 1552134418 h 246"/>
                <a:gd name="T16" fmla="*/ 137614361 w 233"/>
                <a:gd name="T17" fmla="*/ 1469353181 h 246"/>
                <a:gd name="T18" fmla="*/ 158258345 w 233"/>
                <a:gd name="T19" fmla="*/ 1283099007 h 246"/>
                <a:gd name="T20" fmla="*/ 20641366 w 233"/>
                <a:gd name="T21" fmla="*/ 1117536532 h 246"/>
                <a:gd name="T22" fmla="*/ 41285355 w 233"/>
                <a:gd name="T23" fmla="*/ 827804826 h 246"/>
                <a:gd name="T24" fmla="*/ 20641366 w 233"/>
                <a:gd name="T25" fmla="*/ 620854194 h 246"/>
                <a:gd name="T26" fmla="*/ 20641366 w 233"/>
                <a:gd name="T27" fmla="*/ 600157572 h 246"/>
                <a:gd name="T28" fmla="*/ 137614361 w 233"/>
                <a:gd name="T29" fmla="*/ 682938809 h 246"/>
                <a:gd name="T30" fmla="*/ 220185092 w 233"/>
                <a:gd name="T31" fmla="*/ 765720211 h 246"/>
                <a:gd name="T32" fmla="*/ 612389395 w 233"/>
                <a:gd name="T33" fmla="*/ 434597723 h 246"/>
                <a:gd name="T34" fmla="*/ 736242971 w 233"/>
                <a:gd name="T35" fmla="*/ 248341169 h 246"/>
                <a:gd name="T36" fmla="*/ 736242971 w 233"/>
                <a:gd name="T37" fmla="*/ 82781258 h 246"/>
                <a:gd name="T38" fmla="*/ 798169677 w 233"/>
                <a:gd name="T39" fmla="*/ 41390629 h 246"/>
                <a:gd name="T40" fmla="*/ 1107805831 w 233"/>
                <a:gd name="T41" fmla="*/ 103475275 h 246"/>
                <a:gd name="T42" fmla="*/ 1211017882 w 233"/>
                <a:gd name="T43" fmla="*/ 206950550 h 246"/>
                <a:gd name="T44" fmla="*/ 1355515278 w 233"/>
                <a:gd name="T45" fmla="*/ 248341169 h 246"/>
                <a:gd name="T46" fmla="*/ 1603222430 w 233"/>
                <a:gd name="T47" fmla="*/ 496682338 h 246"/>
                <a:gd name="T48" fmla="*/ 1396798328 w 233"/>
                <a:gd name="T49" fmla="*/ 662244813 h 246"/>
                <a:gd name="T50" fmla="*/ 983952418 w 233"/>
                <a:gd name="T51" fmla="*/ 703635596 h 246"/>
                <a:gd name="T52" fmla="*/ 983952418 w 233"/>
                <a:gd name="T53" fmla="*/ 786414207 h 246"/>
                <a:gd name="T54" fmla="*/ 1045879124 w 233"/>
                <a:gd name="T55" fmla="*/ 1055451917 h 246"/>
                <a:gd name="T56" fmla="*/ 1149091176 w 233"/>
                <a:gd name="T57" fmla="*/ 1158927151 h 246"/>
                <a:gd name="T58" fmla="*/ 1252303227 w 233"/>
                <a:gd name="T59" fmla="*/ 1283099007 h 246"/>
                <a:gd name="T60" fmla="*/ 1293585949 w 233"/>
                <a:gd name="T61" fmla="*/ 1407268566 h 246"/>
                <a:gd name="T62" fmla="*/ 1293585949 w 233"/>
                <a:gd name="T63" fmla="*/ 1697000271 h 2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33"/>
                <a:gd name="T97" fmla="*/ 0 h 246"/>
                <a:gd name="T98" fmla="*/ 233 w 233"/>
                <a:gd name="T99" fmla="*/ 246 h 24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33" h="246">
                  <a:moveTo>
                    <a:pt x="188" y="246"/>
                  </a:moveTo>
                  <a:cubicBezTo>
                    <a:pt x="167" y="237"/>
                    <a:pt x="161" y="222"/>
                    <a:pt x="152" y="210"/>
                  </a:cubicBezTo>
                  <a:cubicBezTo>
                    <a:pt x="149" y="186"/>
                    <a:pt x="131" y="165"/>
                    <a:pt x="107" y="177"/>
                  </a:cubicBezTo>
                  <a:cubicBezTo>
                    <a:pt x="101" y="183"/>
                    <a:pt x="101" y="183"/>
                    <a:pt x="101" y="192"/>
                  </a:cubicBezTo>
                  <a:cubicBezTo>
                    <a:pt x="95" y="201"/>
                    <a:pt x="86" y="210"/>
                    <a:pt x="77" y="216"/>
                  </a:cubicBezTo>
                  <a:cubicBezTo>
                    <a:pt x="77" y="216"/>
                    <a:pt x="77" y="216"/>
                    <a:pt x="77" y="219"/>
                  </a:cubicBezTo>
                  <a:cubicBezTo>
                    <a:pt x="74" y="219"/>
                    <a:pt x="71" y="219"/>
                    <a:pt x="71" y="222"/>
                  </a:cubicBezTo>
                  <a:cubicBezTo>
                    <a:pt x="68" y="222"/>
                    <a:pt x="65" y="225"/>
                    <a:pt x="59" y="225"/>
                  </a:cubicBezTo>
                  <a:cubicBezTo>
                    <a:pt x="44" y="225"/>
                    <a:pt x="29" y="222"/>
                    <a:pt x="20" y="213"/>
                  </a:cubicBezTo>
                  <a:cubicBezTo>
                    <a:pt x="26" y="201"/>
                    <a:pt x="26" y="192"/>
                    <a:pt x="23" y="186"/>
                  </a:cubicBezTo>
                  <a:cubicBezTo>
                    <a:pt x="15" y="177"/>
                    <a:pt x="6" y="168"/>
                    <a:pt x="3" y="162"/>
                  </a:cubicBezTo>
                  <a:cubicBezTo>
                    <a:pt x="3" y="147"/>
                    <a:pt x="6" y="132"/>
                    <a:pt x="6" y="120"/>
                  </a:cubicBezTo>
                  <a:cubicBezTo>
                    <a:pt x="3" y="105"/>
                    <a:pt x="0" y="99"/>
                    <a:pt x="3" y="90"/>
                  </a:cubicBezTo>
                  <a:cubicBezTo>
                    <a:pt x="3" y="87"/>
                    <a:pt x="3" y="87"/>
                    <a:pt x="3" y="87"/>
                  </a:cubicBezTo>
                  <a:cubicBezTo>
                    <a:pt x="9" y="90"/>
                    <a:pt x="15" y="96"/>
                    <a:pt x="20" y="99"/>
                  </a:cubicBezTo>
                  <a:cubicBezTo>
                    <a:pt x="23" y="102"/>
                    <a:pt x="29" y="108"/>
                    <a:pt x="32" y="111"/>
                  </a:cubicBezTo>
                  <a:cubicBezTo>
                    <a:pt x="59" y="123"/>
                    <a:pt x="80" y="84"/>
                    <a:pt x="89" y="63"/>
                  </a:cubicBezTo>
                  <a:cubicBezTo>
                    <a:pt x="95" y="54"/>
                    <a:pt x="101" y="45"/>
                    <a:pt x="107" y="36"/>
                  </a:cubicBezTo>
                  <a:cubicBezTo>
                    <a:pt x="107" y="27"/>
                    <a:pt x="107" y="21"/>
                    <a:pt x="107" y="12"/>
                  </a:cubicBezTo>
                  <a:cubicBezTo>
                    <a:pt x="110" y="9"/>
                    <a:pt x="113" y="9"/>
                    <a:pt x="116" y="6"/>
                  </a:cubicBezTo>
                  <a:cubicBezTo>
                    <a:pt x="131" y="6"/>
                    <a:pt x="143" y="0"/>
                    <a:pt x="161" y="15"/>
                  </a:cubicBezTo>
                  <a:cubicBezTo>
                    <a:pt x="167" y="18"/>
                    <a:pt x="170" y="24"/>
                    <a:pt x="176" y="30"/>
                  </a:cubicBezTo>
                  <a:cubicBezTo>
                    <a:pt x="185" y="30"/>
                    <a:pt x="191" y="33"/>
                    <a:pt x="197" y="36"/>
                  </a:cubicBezTo>
                  <a:cubicBezTo>
                    <a:pt x="206" y="39"/>
                    <a:pt x="233" y="54"/>
                    <a:pt x="233" y="72"/>
                  </a:cubicBezTo>
                  <a:cubicBezTo>
                    <a:pt x="221" y="78"/>
                    <a:pt x="212" y="90"/>
                    <a:pt x="203" y="96"/>
                  </a:cubicBezTo>
                  <a:cubicBezTo>
                    <a:pt x="179" y="102"/>
                    <a:pt x="158" y="93"/>
                    <a:pt x="143" y="102"/>
                  </a:cubicBezTo>
                  <a:cubicBezTo>
                    <a:pt x="143" y="108"/>
                    <a:pt x="143" y="111"/>
                    <a:pt x="143" y="114"/>
                  </a:cubicBezTo>
                  <a:cubicBezTo>
                    <a:pt x="152" y="126"/>
                    <a:pt x="131" y="138"/>
                    <a:pt x="152" y="153"/>
                  </a:cubicBezTo>
                  <a:cubicBezTo>
                    <a:pt x="158" y="156"/>
                    <a:pt x="164" y="162"/>
                    <a:pt x="167" y="168"/>
                  </a:cubicBezTo>
                  <a:cubicBezTo>
                    <a:pt x="173" y="174"/>
                    <a:pt x="176" y="180"/>
                    <a:pt x="182" y="186"/>
                  </a:cubicBezTo>
                  <a:cubicBezTo>
                    <a:pt x="185" y="192"/>
                    <a:pt x="185" y="198"/>
                    <a:pt x="188" y="204"/>
                  </a:cubicBezTo>
                  <a:cubicBezTo>
                    <a:pt x="188" y="219"/>
                    <a:pt x="188" y="231"/>
                    <a:pt x="188" y="246"/>
                  </a:cubicBezTo>
                  <a:close/>
                </a:path>
              </a:pathLst>
            </a:custGeom>
            <a:solidFill>
              <a:schemeClr val="accent3"/>
            </a:solidFill>
            <a:ln w="7">
              <a:solidFill>
                <a:schemeClr val="accent5">
                  <a:lumMod val="50000"/>
                  <a:lumOff val="50000"/>
                </a:schemeClr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8046336" y="4329939"/>
              <a:ext cx="442697" cy="402749"/>
            </a:xfrm>
            <a:custGeom>
              <a:avLst/>
              <a:gdLst>
                <a:gd name="T0" fmla="*/ 556115227 w 186"/>
                <a:gd name="T1" fmla="*/ 1285333791 h 186"/>
                <a:gd name="T2" fmla="*/ 370741793 w 186"/>
                <a:gd name="T3" fmla="*/ 1202409476 h 186"/>
                <a:gd name="T4" fmla="*/ 308951439 w 186"/>
                <a:gd name="T5" fmla="*/ 974366951 h 186"/>
                <a:gd name="T6" fmla="*/ 226566157 w 186"/>
                <a:gd name="T7" fmla="*/ 932903479 h 186"/>
                <a:gd name="T8" fmla="*/ 164775845 w 186"/>
                <a:gd name="T9" fmla="*/ 912173057 h 186"/>
                <a:gd name="T10" fmla="*/ 0 w 186"/>
                <a:gd name="T11" fmla="*/ 601203423 h 186"/>
                <a:gd name="T12" fmla="*/ 102982953 w 186"/>
                <a:gd name="T13" fmla="*/ 456085214 h 186"/>
                <a:gd name="T14" fmla="*/ 205968527 w 186"/>
                <a:gd name="T15" fmla="*/ 331699973 h 186"/>
                <a:gd name="T16" fmla="*/ 247161168 w 186"/>
                <a:gd name="T17" fmla="*/ 269506079 h 186"/>
                <a:gd name="T18" fmla="*/ 267758798 w 186"/>
                <a:gd name="T19" fmla="*/ 103654778 h 186"/>
                <a:gd name="T20" fmla="*/ 391339423 w 186"/>
                <a:gd name="T21" fmla="*/ 82924336 h 186"/>
                <a:gd name="T22" fmla="*/ 494324956 w 186"/>
                <a:gd name="T23" fmla="*/ 82924336 h 186"/>
                <a:gd name="T24" fmla="*/ 700293565 w 186"/>
                <a:gd name="T25" fmla="*/ 62193914 h 186"/>
                <a:gd name="T26" fmla="*/ 885664379 w 186"/>
                <a:gd name="T27" fmla="*/ 103654778 h 186"/>
                <a:gd name="T28" fmla="*/ 1029842553 w 186"/>
                <a:gd name="T29" fmla="*/ 62193914 h 186"/>
                <a:gd name="T30" fmla="*/ 1132825465 w 186"/>
                <a:gd name="T31" fmla="*/ 103654778 h 186"/>
                <a:gd name="T32" fmla="*/ 1256406008 w 186"/>
                <a:gd name="T33" fmla="*/ 124387829 h 186"/>
                <a:gd name="T34" fmla="*/ 1112227834 w 186"/>
                <a:gd name="T35" fmla="*/ 331699973 h 186"/>
                <a:gd name="T36" fmla="*/ 1215213367 w 186"/>
                <a:gd name="T37" fmla="*/ 331699973 h 186"/>
                <a:gd name="T38" fmla="*/ 1256406008 w 186"/>
                <a:gd name="T39" fmla="*/ 290236501 h 186"/>
                <a:gd name="T40" fmla="*/ 1235810998 w 186"/>
                <a:gd name="T41" fmla="*/ 373160899 h 186"/>
                <a:gd name="T42" fmla="*/ 1112227834 w 186"/>
                <a:gd name="T43" fmla="*/ 435354792 h 186"/>
                <a:gd name="T44" fmla="*/ 1112227834 w 186"/>
                <a:gd name="T45" fmla="*/ 497548686 h 186"/>
                <a:gd name="T46" fmla="*/ 1194615736 w 186"/>
                <a:gd name="T47" fmla="*/ 518279108 h 186"/>
                <a:gd name="T48" fmla="*/ 1174020726 w 186"/>
                <a:gd name="T49" fmla="*/ 704860954 h 186"/>
                <a:gd name="T50" fmla="*/ 1174020726 w 186"/>
                <a:gd name="T51" fmla="*/ 849979163 h 186"/>
                <a:gd name="T52" fmla="*/ 1132825465 w 186"/>
                <a:gd name="T53" fmla="*/ 870709585 h 186"/>
                <a:gd name="T54" fmla="*/ 1132825465 w 186"/>
                <a:gd name="T55" fmla="*/ 829248741 h 186"/>
                <a:gd name="T56" fmla="*/ 926857020 w 186"/>
                <a:gd name="T57" fmla="*/ 974366951 h 186"/>
                <a:gd name="T58" fmla="*/ 906262010 w 186"/>
                <a:gd name="T59" fmla="*/ 1036560845 h 186"/>
                <a:gd name="T60" fmla="*/ 906262010 w 186"/>
                <a:gd name="T61" fmla="*/ 1223139897 h 186"/>
                <a:gd name="T62" fmla="*/ 865066748 w 186"/>
                <a:gd name="T63" fmla="*/ 1223139897 h 186"/>
                <a:gd name="T64" fmla="*/ 556115227 w 186"/>
                <a:gd name="T65" fmla="*/ 1285333791 h 18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86"/>
                <a:gd name="T100" fmla="*/ 0 h 186"/>
                <a:gd name="T101" fmla="*/ 186 w 186"/>
                <a:gd name="T102" fmla="*/ 186 h 18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86" h="186">
                  <a:moveTo>
                    <a:pt x="81" y="186"/>
                  </a:moveTo>
                  <a:cubicBezTo>
                    <a:pt x="66" y="183"/>
                    <a:pt x="60" y="180"/>
                    <a:pt x="54" y="174"/>
                  </a:cubicBezTo>
                  <a:cubicBezTo>
                    <a:pt x="51" y="165"/>
                    <a:pt x="48" y="153"/>
                    <a:pt x="45" y="141"/>
                  </a:cubicBezTo>
                  <a:cubicBezTo>
                    <a:pt x="42" y="138"/>
                    <a:pt x="39" y="138"/>
                    <a:pt x="33" y="135"/>
                  </a:cubicBezTo>
                  <a:cubicBezTo>
                    <a:pt x="30" y="132"/>
                    <a:pt x="27" y="132"/>
                    <a:pt x="24" y="132"/>
                  </a:cubicBezTo>
                  <a:cubicBezTo>
                    <a:pt x="30" y="114"/>
                    <a:pt x="9" y="93"/>
                    <a:pt x="0" y="87"/>
                  </a:cubicBezTo>
                  <a:cubicBezTo>
                    <a:pt x="0" y="78"/>
                    <a:pt x="12" y="72"/>
                    <a:pt x="15" y="66"/>
                  </a:cubicBezTo>
                  <a:cubicBezTo>
                    <a:pt x="15" y="57"/>
                    <a:pt x="24" y="54"/>
                    <a:pt x="30" y="48"/>
                  </a:cubicBezTo>
                  <a:cubicBezTo>
                    <a:pt x="33" y="45"/>
                    <a:pt x="33" y="42"/>
                    <a:pt x="36" y="39"/>
                  </a:cubicBezTo>
                  <a:cubicBezTo>
                    <a:pt x="36" y="33"/>
                    <a:pt x="36" y="15"/>
                    <a:pt x="39" y="15"/>
                  </a:cubicBezTo>
                  <a:cubicBezTo>
                    <a:pt x="42" y="12"/>
                    <a:pt x="48" y="3"/>
                    <a:pt x="57" y="12"/>
                  </a:cubicBezTo>
                  <a:cubicBezTo>
                    <a:pt x="63" y="12"/>
                    <a:pt x="66" y="12"/>
                    <a:pt x="72" y="12"/>
                  </a:cubicBezTo>
                  <a:cubicBezTo>
                    <a:pt x="78" y="3"/>
                    <a:pt x="90" y="6"/>
                    <a:pt x="102" y="9"/>
                  </a:cubicBezTo>
                  <a:cubicBezTo>
                    <a:pt x="105" y="15"/>
                    <a:pt x="117" y="21"/>
                    <a:pt x="129" y="15"/>
                  </a:cubicBezTo>
                  <a:cubicBezTo>
                    <a:pt x="135" y="12"/>
                    <a:pt x="141" y="0"/>
                    <a:pt x="150" y="9"/>
                  </a:cubicBezTo>
                  <a:cubicBezTo>
                    <a:pt x="156" y="12"/>
                    <a:pt x="159" y="12"/>
                    <a:pt x="165" y="15"/>
                  </a:cubicBezTo>
                  <a:cubicBezTo>
                    <a:pt x="171" y="15"/>
                    <a:pt x="177" y="15"/>
                    <a:pt x="183" y="18"/>
                  </a:cubicBezTo>
                  <a:cubicBezTo>
                    <a:pt x="183" y="21"/>
                    <a:pt x="150" y="36"/>
                    <a:pt x="162" y="48"/>
                  </a:cubicBezTo>
                  <a:cubicBezTo>
                    <a:pt x="165" y="48"/>
                    <a:pt x="171" y="48"/>
                    <a:pt x="177" y="48"/>
                  </a:cubicBezTo>
                  <a:cubicBezTo>
                    <a:pt x="177" y="45"/>
                    <a:pt x="180" y="42"/>
                    <a:pt x="183" y="42"/>
                  </a:cubicBezTo>
                  <a:cubicBezTo>
                    <a:pt x="183" y="42"/>
                    <a:pt x="186" y="51"/>
                    <a:pt x="180" y="54"/>
                  </a:cubicBezTo>
                  <a:cubicBezTo>
                    <a:pt x="171" y="57"/>
                    <a:pt x="168" y="57"/>
                    <a:pt x="162" y="63"/>
                  </a:cubicBezTo>
                  <a:cubicBezTo>
                    <a:pt x="162" y="66"/>
                    <a:pt x="162" y="69"/>
                    <a:pt x="162" y="72"/>
                  </a:cubicBezTo>
                  <a:cubicBezTo>
                    <a:pt x="165" y="72"/>
                    <a:pt x="168" y="75"/>
                    <a:pt x="174" y="75"/>
                  </a:cubicBezTo>
                  <a:cubicBezTo>
                    <a:pt x="171" y="84"/>
                    <a:pt x="171" y="90"/>
                    <a:pt x="171" y="102"/>
                  </a:cubicBezTo>
                  <a:cubicBezTo>
                    <a:pt x="171" y="108"/>
                    <a:pt x="174" y="120"/>
                    <a:pt x="171" y="123"/>
                  </a:cubicBezTo>
                  <a:cubicBezTo>
                    <a:pt x="168" y="123"/>
                    <a:pt x="168" y="126"/>
                    <a:pt x="165" y="126"/>
                  </a:cubicBezTo>
                  <a:cubicBezTo>
                    <a:pt x="165" y="123"/>
                    <a:pt x="165" y="120"/>
                    <a:pt x="165" y="120"/>
                  </a:cubicBezTo>
                  <a:cubicBezTo>
                    <a:pt x="156" y="111"/>
                    <a:pt x="141" y="135"/>
                    <a:pt x="135" y="141"/>
                  </a:cubicBezTo>
                  <a:cubicBezTo>
                    <a:pt x="135" y="141"/>
                    <a:pt x="135" y="147"/>
                    <a:pt x="132" y="150"/>
                  </a:cubicBezTo>
                  <a:cubicBezTo>
                    <a:pt x="132" y="159"/>
                    <a:pt x="132" y="168"/>
                    <a:pt x="132" y="177"/>
                  </a:cubicBezTo>
                  <a:cubicBezTo>
                    <a:pt x="129" y="177"/>
                    <a:pt x="129" y="177"/>
                    <a:pt x="126" y="177"/>
                  </a:cubicBezTo>
                  <a:cubicBezTo>
                    <a:pt x="105" y="177"/>
                    <a:pt x="96" y="180"/>
                    <a:pt x="81" y="186"/>
                  </a:cubicBezTo>
                  <a:close/>
                </a:path>
              </a:pathLst>
            </a:custGeom>
            <a:solidFill>
              <a:srgbClr val="FF0000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7532979" y="4414931"/>
              <a:ext cx="563825" cy="720502"/>
            </a:xfrm>
            <a:custGeom>
              <a:avLst/>
              <a:gdLst>
                <a:gd name="T0" fmla="*/ 435811591 w 236"/>
                <a:gd name="T1" fmla="*/ 2147483647 h 333"/>
                <a:gd name="T2" fmla="*/ 352799140 w 236"/>
                <a:gd name="T3" fmla="*/ 2147483647 h 333"/>
                <a:gd name="T4" fmla="*/ 352799140 w 236"/>
                <a:gd name="T5" fmla="*/ 2147483647 h 333"/>
                <a:gd name="T6" fmla="*/ 498069615 w 236"/>
                <a:gd name="T7" fmla="*/ 2069970124 h 333"/>
                <a:gd name="T8" fmla="*/ 477317817 w 236"/>
                <a:gd name="T9" fmla="*/ 1966470338 h 333"/>
                <a:gd name="T10" fmla="*/ 332047259 w 236"/>
                <a:gd name="T11" fmla="*/ 1987171871 h 333"/>
                <a:gd name="T12" fmla="*/ 228283010 w 236"/>
                <a:gd name="T13" fmla="*/ 2007870778 h 333"/>
                <a:gd name="T14" fmla="*/ 186776784 w 236"/>
                <a:gd name="T15" fmla="*/ 1862973178 h 333"/>
                <a:gd name="T16" fmla="*/ 207528582 w 236"/>
                <a:gd name="T17" fmla="*/ 1573177977 h 333"/>
                <a:gd name="T18" fmla="*/ 166022315 w 236"/>
                <a:gd name="T19" fmla="*/ 1552476444 h 333"/>
                <a:gd name="T20" fmla="*/ 83012472 w 236"/>
                <a:gd name="T21" fmla="*/ 1241982009 h 333"/>
                <a:gd name="T22" fmla="*/ 62258044 w 236"/>
                <a:gd name="T23" fmla="*/ 993584622 h 333"/>
                <a:gd name="T24" fmla="*/ 186776784 w 236"/>
                <a:gd name="T25" fmla="*/ 848687022 h 333"/>
                <a:gd name="T26" fmla="*/ 186776784 w 236"/>
                <a:gd name="T27" fmla="*/ 662391445 h 333"/>
                <a:gd name="T28" fmla="*/ 124518719 w 236"/>
                <a:gd name="T29" fmla="*/ 538192751 h 333"/>
                <a:gd name="T30" fmla="*/ 103764291 w 236"/>
                <a:gd name="T31" fmla="*/ 517491218 h 333"/>
                <a:gd name="T32" fmla="*/ 186776784 w 236"/>
                <a:gd name="T33" fmla="*/ 434692964 h 333"/>
                <a:gd name="T34" fmla="*/ 311292831 w 236"/>
                <a:gd name="T35" fmla="*/ 413994058 h 333"/>
                <a:gd name="T36" fmla="*/ 332047259 w 236"/>
                <a:gd name="T37" fmla="*/ 393295151 h 333"/>
                <a:gd name="T38" fmla="*/ 581082067 w 236"/>
                <a:gd name="T39" fmla="*/ 206997029 h 333"/>
                <a:gd name="T40" fmla="*/ 892374981 w 236"/>
                <a:gd name="T41" fmla="*/ 82798274 h 333"/>
                <a:gd name="T42" fmla="*/ 1016893659 w 236"/>
                <a:gd name="T43" fmla="*/ 0 h 333"/>
                <a:gd name="T44" fmla="*/ 1016893659 w 236"/>
                <a:gd name="T45" fmla="*/ 165596548 h 333"/>
                <a:gd name="T46" fmla="*/ 1120657908 w 236"/>
                <a:gd name="T47" fmla="*/ 206997029 h 333"/>
                <a:gd name="T48" fmla="*/ 1182915932 w 236"/>
                <a:gd name="T49" fmla="*/ 62099367 h 333"/>
                <a:gd name="T50" fmla="*/ 1300514714 w 236"/>
                <a:gd name="T51" fmla="*/ 186298122 h 333"/>
                <a:gd name="T52" fmla="*/ 1487291744 w 236"/>
                <a:gd name="T53" fmla="*/ 144897641 h 333"/>
                <a:gd name="T54" fmla="*/ 1549549768 w 236"/>
                <a:gd name="T55" fmla="*/ 144897641 h 333"/>
                <a:gd name="T56" fmla="*/ 1466539946 w 236"/>
                <a:gd name="T57" fmla="*/ 351894711 h 333"/>
                <a:gd name="T58" fmla="*/ 1632562220 w 236"/>
                <a:gd name="T59" fmla="*/ 579590564 h 333"/>
                <a:gd name="T60" fmla="*/ 1632562220 w 236"/>
                <a:gd name="T61" fmla="*/ 662391445 h 333"/>
                <a:gd name="T62" fmla="*/ 1570304196 w 236"/>
                <a:gd name="T63" fmla="*/ 765888769 h 333"/>
                <a:gd name="T64" fmla="*/ 1321269142 w 236"/>
                <a:gd name="T65" fmla="*/ 869385929 h 333"/>
                <a:gd name="T66" fmla="*/ 1245173956 w 236"/>
                <a:gd name="T67" fmla="*/ 1055683969 h 333"/>
                <a:gd name="T68" fmla="*/ 1245173956 w 236"/>
                <a:gd name="T69" fmla="*/ 1200581569 h 333"/>
                <a:gd name="T70" fmla="*/ 1162164134 w 236"/>
                <a:gd name="T71" fmla="*/ 1283379822 h 333"/>
                <a:gd name="T72" fmla="*/ 1058397254 w 236"/>
                <a:gd name="T73" fmla="*/ 1531777537 h 333"/>
                <a:gd name="T74" fmla="*/ 1037645456 w 236"/>
                <a:gd name="T75" fmla="*/ 1614575791 h 333"/>
                <a:gd name="T76" fmla="*/ 933881207 w 236"/>
                <a:gd name="T77" fmla="*/ 1821572737 h 333"/>
                <a:gd name="T78" fmla="*/ 954633005 w 236"/>
                <a:gd name="T79" fmla="*/ 1883672084 h 333"/>
                <a:gd name="T80" fmla="*/ 913129409 w 236"/>
                <a:gd name="T81" fmla="*/ 2132069471 h 333"/>
                <a:gd name="T82" fmla="*/ 933881207 w 236"/>
                <a:gd name="T83" fmla="*/ 2147483647 h 333"/>
                <a:gd name="T84" fmla="*/ 809362529 w 236"/>
                <a:gd name="T85" fmla="*/ 2147483647 h 333"/>
                <a:gd name="T86" fmla="*/ 539575841 w 236"/>
                <a:gd name="T87" fmla="*/ 2147483647 h 333"/>
                <a:gd name="T88" fmla="*/ 435811591 w 236"/>
                <a:gd name="T89" fmla="*/ 2147483647 h 33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36"/>
                <a:gd name="T136" fmla="*/ 0 h 333"/>
                <a:gd name="T137" fmla="*/ 236 w 236"/>
                <a:gd name="T138" fmla="*/ 333 h 33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36" h="333">
                  <a:moveTo>
                    <a:pt x="63" y="333"/>
                  </a:moveTo>
                  <a:cubicBezTo>
                    <a:pt x="60" y="330"/>
                    <a:pt x="54" y="330"/>
                    <a:pt x="51" y="330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57" y="318"/>
                    <a:pt x="66" y="309"/>
                    <a:pt x="72" y="300"/>
                  </a:cubicBezTo>
                  <a:cubicBezTo>
                    <a:pt x="72" y="291"/>
                    <a:pt x="69" y="288"/>
                    <a:pt x="69" y="285"/>
                  </a:cubicBezTo>
                  <a:cubicBezTo>
                    <a:pt x="57" y="285"/>
                    <a:pt x="54" y="285"/>
                    <a:pt x="48" y="288"/>
                  </a:cubicBezTo>
                  <a:cubicBezTo>
                    <a:pt x="45" y="288"/>
                    <a:pt x="39" y="288"/>
                    <a:pt x="33" y="291"/>
                  </a:cubicBezTo>
                  <a:cubicBezTo>
                    <a:pt x="33" y="282"/>
                    <a:pt x="30" y="276"/>
                    <a:pt x="27" y="270"/>
                  </a:cubicBezTo>
                  <a:cubicBezTo>
                    <a:pt x="27" y="255"/>
                    <a:pt x="33" y="243"/>
                    <a:pt x="30" y="228"/>
                  </a:cubicBezTo>
                  <a:cubicBezTo>
                    <a:pt x="27" y="228"/>
                    <a:pt x="27" y="225"/>
                    <a:pt x="24" y="225"/>
                  </a:cubicBezTo>
                  <a:cubicBezTo>
                    <a:pt x="24" y="207"/>
                    <a:pt x="15" y="192"/>
                    <a:pt x="12" y="180"/>
                  </a:cubicBezTo>
                  <a:cubicBezTo>
                    <a:pt x="6" y="162"/>
                    <a:pt x="0" y="156"/>
                    <a:pt x="9" y="144"/>
                  </a:cubicBezTo>
                  <a:cubicBezTo>
                    <a:pt x="15" y="141"/>
                    <a:pt x="24" y="126"/>
                    <a:pt x="27" y="123"/>
                  </a:cubicBezTo>
                  <a:cubicBezTo>
                    <a:pt x="27" y="114"/>
                    <a:pt x="27" y="105"/>
                    <a:pt x="27" y="96"/>
                  </a:cubicBezTo>
                  <a:cubicBezTo>
                    <a:pt x="24" y="90"/>
                    <a:pt x="21" y="84"/>
                    <a:pt x="18" y="78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8" y="72"/>
                    <a:pt x="24" y="66"/>
                    <a:pt x="27" y="63"/>
                  </a:cubicBezTo>
                  <a:cubicBezTo>
                    <a:pt x="27" y="63"/>
                    <a:pt x="42" y="63"/>
                    <a:pt x="45" y="60"/>
                  </a:cubicBezTo>
                  <a:cubicBezTo>
                    <a:pt x="45" y="57"/>
                    <a:pt x="48" y="57"/>
                    <a:pt x="48" y="57"/>
                  </a:cubicBezTo>
                  <a:cubicBezTo>
                    <a:pt x="57" y="45"/>
                    <a:pt x="72" y="39"/>
                    <a:pt x="84" y="30"/>
                  </a:cubicBezTo>
                  <a:cubicBezTo>
                    <a:pt x="90" y="18"/>
                    <a:pt x="114" y="24"/>
                    <a:pt x="129" y="12"/>
                  </a:cubicBezTo>
                  <a:cubicBezTo>
                    <a:pt x="132" y="0"/>
                    <a:pt x="132" y="0"/>
                    <a:pt x="147" y="0"/>
                  </a:cubicBezTo>
                  <a:cubicBezTo>
                    <a:pt x="147" y="9"/>
                    <a:pt x="147" y="18"/>
                    <a:pt x="147" y="24"/>
                  </a:cubicBezTo>
                  <a:cubicBezTo>
                    <a:pt x="150" y="30"/>
                    <a:pt x="156" y="30"/>
                    <a:pt x="162" y="30"/>
                  </a:cubicBezTo>
                  <a:cubicBezTo>
                    <a:pt x="171" y="24"/>
                    <a:pt x="168" y="12"/>
                    <a:pt x="171" y="9"/>
                  </a:cubicBezTo>
                  <a:cubicBezTo>
                    <a:pt x="174" y="12"/>
                    <a:pt x="177" y="27"/>
                    <a:pt x="188" y="27"/>
                  </a:cubicBezTo>
                  <a:cubicBezTo>
                    <a:pt x="197" y="27"/>
                    <a:pt x="206" y="27"/>
                    <a:pt x="215" y="21"/>
                  </a:cubicBezTo>
                  <a:cubicBezTo>
                    <a:pt x="218" y="21"/>
                    <a:pt x="221" y="21"/>
                    <a:pt x="224" y="21"/>
                  </a:cubicBezTo>
                  <a:cubicBezTo>
                    <a:pt x="221" y="33"/>
                    <a:pt x="206" y="36"/>
                    <a:pt x="212" y="51"/>
                  </a:cubicBezTo>
                  <a:cubicBezTo>
                    <a:pt x="221" y="60"/>
                    <a:pt x="227" y="69"/>
                    <a:pt x="236" y="84"/>
                  </a:cubicBezTo>
                  <a:cubicBezTo>
                    <a:pt x="236" y="90"/>
                    <a:pt x="236" y="93"/>
                    <a:pt x="236" y="96"/>
                  </a:cubicBezTo>
                  <a:cubicBezTo>
                    <a:pt x="233" y="99"/>
                    <a:pt x="230" y="105"/>
                    <a:pt x="227" y="111"/>
                  </a:cubicBezTo>
                  <a:cubicBezTo>
                    <a:pt x="215" y="126"/>
                    <a:pt x="203" y="120"/>
                    <a:pt x="191" y="126"/>
                  </a:cubicBezTo>
                  <a:cubicBezTo>
                    <a:pt x="180" y="138"/>
                    <a:pt x="177" y="135"/>
                    <a:pt x="180" y="153"/>
                  </a:cubicBezTo>
                  <a:cubicBezTo>
                    <a:pt x="183" y="159"/>
                    <a:pt x="183" y="165"/>
                    <a:pt x="180" y="174"/>
                  </a:cubicBezTo>
                  <a:cubicBezTo>
                    <a:pt x="174" y="177"/>
                    <a:pt x="171" y="180"/>
                    <a:pt x="168" y="186"/>
                  </a:cubicBezTo>
                  <a:cubicBezTo>
                    <a:pt x="150" y="198"/>
                    <a:pt x="150" y="195"/>
                    <a:pt x="153" y="222"/>
                  </a:cubicBezTo>
                  <a:cubicBezTo>
                    <a:pt x="153" y="225"/>
                    <a:pt x="153" y="231"/>
                    <a:pt x="150" y="234"/>
                  </a:cubicBezTo>
                  <a:cubicBezTo>
                    <a:pt x="138" y="246"/>
                    <a:pt x="135" y="246"/>
                    <a:pt x="135" y="264"/>
                  </a:cubicBezTo>
                  <a:cubicBezTo>
                    <a:pt x="135" y="267"/>
                    <a:pt x="138" y="270"/>
                    <a:pt x="138" y="273"/>
                  </a:cubicBezTo>
                  <a:cubicBezTo>
                    <a:pt x="135" y="282"/>
                    <a:pt x="129" y="297"/>
                    <a:pt x="132" y="309"/>
                  </a:cubicBezTo>
                  <a:cubicBezTo>
                    <a:pt x="132" y="312"/>
                    <a:pt x="132" y="315"/>
                    <a:pt x="135" y="315"/>
                  </a:cubicBezTo>
                  <a:cubicBezTo>
                    <a:pt x="129" y="318"/>
                    <a:pt x="123" y="321"/>
                    <a:pt x="117" y="327"/>
                  </a:cubicBezTo>
                  <a:cubicBezTo>
                    <a:pt x="105" y="315"/>
                    <a:pt x="93" y="324"/>
                    <a:pt x="78" y="330"/>
                  </a:cubicBezTo>
                  <a:cubicBezTo>
                    <a:pt x="72" y="330"/>
                    <a:pt x="69" y="333"/>
                    <a:pt x="63" y="333"/>
                  </a:cubicBezTo>
                  <a:close/>
                </a:path>
              </a:pathLst>
            </a:custGeom>
            <a:solidFill>
              <a:srgbClr val="FF0000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8" name="Freeform 30"/>
            <p:cNvSpPr>
              <a:spLocks/>
            </p:cNvSpPr>
            <p:nvPr/>
          </p:nvSpPr>
          <p:spPr bwMode="auto">
            <a:xfrm>
              <a:off x="7648339" y="3850038"/>
              <a:ext cx="547963" cy="617199"/>
            </a:xfrm>
            <a:custGeom>
              <a:avLst/>
              <a:gdLst>
                <a:gd name="T0" fmla="*/ 742954962 w 230"/>
                <a:gd name="T1" fmla="*/ 1970001533 h 285"/>
                <a:gd name="T2" fmla="*/ 722318572 w 230"/>
                <a:gd name="T3" fmla="*/ 1949265650 h 285"/>
                <a:gd name="T4" fmla="*/ 722318572 w 230"/>
                <a:gd name="T5" fmla="*/ 1804106584 h 285"/>
                <a:gd name="T6" fmla="*/ 701679559 w 230"/>
                <a:gd name="T7" fmla="*/ 1783370701 h 285"/>
                <a:gd name="T8" fmla="*/ 515941392 w 230"/>
                <a:gd name="T9" fmla="*/ 1866316861 h 285"/>
                <a:gd name="T10" fmla="*/ 495305002 w 230"/>
                <a:gd name="T11" fmla="*/ 1887055373 h 285"/>
                <a:gd name="T12" fmla="*/ 433390586 w 230"/>
                <a:gd name="T13" fmla="*/ 1824842467 h 285"/>
                <a:gd name="T14" fmla="*/ 412754196 w 230"/>
                <a:gd name="T15" fmla="*/ 1783370701 h 285"/>
                <a:gd name="T16" fmla="*/ 350839780 w 230"/>
                <a:gd name="T17" fmla="*/ 1617475752 h 285"/>
                <a:gd name="T18" fmla="*/ 309564294 w 230"/>
                <a:gd name="T19" fmla="*/ 1596737240 h 285"/>
                <a:gd name="T20" fmla="*/ 371478793 w 230"/>
                <a:gd name="T21" fmla="*/ 1493052569 h 285"/>
                <a:gd name="T22" fmla="*/ 206377098 w 230"/>
                <a:gd name="T23" fmla="*/ 1347895803 h 285"/>
                <a:gd name="T24" fmla="*/ 206377098 w 230"/>
                <a:gd name="T25" fmla="*/ 1306421408 h 285"/>
                <a:gd name="T26" fmla="*/ 185738085 w 230"/>
                <a:gd name="T27" fmla="*/ 1285685526 h 285"/>
                <a:gd name="T28" fmla="*/ 288927904 w 230"/>
                <a:gd name="T29" fmla="*/ 1182000854 h 285"/>
                <a:gd name="T30" fmla="*/ 350839780 w 230"/>
                <a:gd name="T31" fmla="*/ 1119790577 h 285"/>
                <a:gd name="T32" fmla="*/ 268288891 w 230"/>
                <a:gd name="T33" fmla="*/ 870946839 h 285"/>
                <a:gd name="T34" fmla="*/ 185738085 w 230"/>
                <a:gd name="T35" fmla="*/ 870946839 h 285"/>
                <a:gd name="T36" fmla="*/ 165101654 w 230"/>
                <a:gd name="T37" fmla="*/ 891685351 h 285"/>
                <a:gd name="T38" fmla="*/ 123826251 w 230"/>
                <a:gd name="T39" fmla="*/ 891685351 h 285"/>
                <a:gd name="T40" fmla="*/ 61911814 w 230"/>
                <a:gd name="T41" fmla="*/ 725790402 h 285"/>
                <a:gd name="T42" fmla="*/ 0 w 230"/>
                <a:gd name="T43" fmla="*/ 684315843 h 285"/>
                <a:gd name="T44" fmla="*/ 144462641 w 230"/>
                <a:gd name="T45" fmla="*/ 497685011 h 285"/>
                <a:gd name="T46" fmla="*/ 144462641 w 230"/>
                <a:gd name="T47" fmla="*/ 248841191 h 285"/>
                <a:gd name="T48" fmla="*/ 165101654 w 230"/>
                <a:gd name="T49" fmla="*/ 228105308 h 285"/>
                <a:gd name="T50" fmla="*/ 185738085 w 230"/>
                <a:gd name="T51" fmla="*/ 248841191 h 285"/>
                <a:gd name="T52" fmla="*/ 309564294 w 230"/>
                <a:gd name="T53" fmla="*/ 394000339 h 285"/>
                <a:gd name="T54" fmla="*/ 371478793 w 230"/>
                <a:gd name="T55" fmla="*/ 394000339 h 285"/>
                <a:gd name="T56" fmla="*/ 454029599 w 230"/>
                <a:gd name="T57" fmla="*/ 207369426 h 285"/>
                <a:gd name="T58" fmla="*/ 454029599 w 230"/>
                <a:gd name="T59" fmla="*/ 165894990 h 285"/>
                <a:gd name="T60" fmla="*/ 330203307 w 230"/>
                <a:gd name="T61" fmla="*/ 41474405 h 285"/>
                <a:gd name="T62" fmla="*/ 371478793 w 230"/>
                <a:gd name="T63" fmla="*/ 0 h 285"/>
                <a:gd name="T64" fmla="*/ 392115183 w 230"/>
                <a:gd name="T65" fmla="*/ 0 h 285"/>
                <a:gd name="T66" fmla="*/ 536577782 w 230"/>
                <a:gd name="T67" fmla="*/ 186630914 h 285"/>
                <a:gd name="T68" fmla="*/ 598492199 w 230"/>
                <a:gd name="T69" fmla="*/ 269579703 h 285"/>
                <a:gd name="T70" fmla="*/ 846144782 w 230"/>
                <a:gd name="T71" fmla="*/ 311054097 h 285"/>
                <a:gd name="T72" fmla="*/ 908056575 w 230"/>
                <a:gd name="T73" fmla="*/ 352525945 h 285"/>
                <a:gd name="T74" fmla="*/ 1066278517 w 230"/>
                <a:gd name="T75" fmla="*/ 663579960 h 285"/>
                <a:gd name="T76" fmla="*/ 1086917530 w 230"/>
                <a:gd name="T77" fmla="*/ 684315843 h 285"/>
                <a:gd name="T78" fmla="*/ 1210741116 w 230"/>
                <a:gd name="T79" fmla="*/ 663579960 h 285"/>
                <a:gd name="T80" fmla="*/ 1293291923 w 230"/>
                <a:gd name="T81" fmla="*/ 601369683 h 285"/>
                <a:gd name="T82" fmla="*/ 1334567326 w 230"/>
                <a:gd name="T83" fmla="*/ 746526284 h 285"/>
                <a:gd name="T84" fmla="*/ 1190104726 w 230"/>
                <a:gd name="T85" fmla="*/ 767264796 h 285"/>
                <a:gd name="T86" fmla="*/ 1148829323 w 230"/>
                <a:gd name="T87" fmla="*/ 850210956 h 285"/>
                <a:gd name="T88" fmla="*/ 1148829323 w 230"/>
                <a:gd name="T89" fmla="*/ 933159745 h 285"/>
                <a:gd name="T90" fmla="*/ 1107553920 w 230"/>
                <a:gd name="T91" fmla="*/ 1036841788 h 285"/>
                <a:gd name="T92" fmla="*/ 1252016520 w 230"/>
                <a:gd name="T93" fmla="*/ 1182000854 h 285"/>
                <a:gd name="T94" fmla="*/ 1334567326 w 230"/>
                <a:gd name="T95" fmla="*/ 1223475248 h 285"/>
                <a:gd name="T96" fmla="*/ 1396482070 w 230"/>
                <a:gd name="T97" fmla="*/ 1285685526 h 285"/>
                <a:gd name="T98" fmla="*/ 1561583683 w 230"/>
                <a:gd name="T99" fmla="*/ 1306421408 h 285"/>
                <a:gd name="T100" fmla="*/ 1582220073 w 230"/>
                <a:gd name="T101" fmla="*/ 1327159920 h 285"/>
                <a:gd name="T102" fmla="*/ 1582220073 w 230"/>
                <a:gd name="T103" fmla="*/ 1368631686 h 285"/>
                <a:gd name="T104" fmla="*/ 1417118460 w 230"/>
                <a:gd name="T105" fmla="*/ 1513791080 h 285"/>
                <a:gd name="T106" fmla="*/ 1437757473 w 230"/>
                <a:gd name="T107" fmla="*/ 1576001358 h 285"/>
                <a:gd name="T108" fmla="*/ 1355206339 w 230"/>
                <a:gd name="T109" fmla="*/ 1617475752 h 285"/>
                <a:gd name="T110" fmla="*/ 1355206339 w 230"/>
                <a:gd name="T111" fmla="*/ 1783370701 h 285"/>
                <a:gd name="T112" fmla="*/ 1128192933 w 230"/>
                <a:gd name="T113" fmla="*/ 1928527138 h 285"/>
                <a:gd name="T114" fmla="*/ 949331978 w 230"/>
                <a:gd name="T115" fmla="*/ 1949265650 h 285"/>
                <a:gd name="T116" fmla="*/ 846144782 w 230"/>
                <a:gd name="T117" fmla="*/ 1824842467 h 285"/>
                <a:gd name="T118" fmla="*/ 804869378 w 230"/>
                <a:gd name="T119" fmla="*/ 1866316861 h 285"/>
                <a:gd name="T120" fmla="*/ 784230365 w 230"/>
                <a:gd name="T121" fmla="*/ 1970001533 h 285"/>
                <a:gd name="T122" fmla="*/ 742954962 w 230"/>
                <a:gd name="T123" fmla="*/ 1970001533 h 28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30"/>
                <a:gd name="T187" fmla="*/ 0 h 285"/>
                <a:gd name="T188" fmla="*/ 230 w 230"/>
                <a:gd name="T189" fmla="*/ 285 h 28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30" h="285">
                  <a:moveTo>
                    <a:pt x="108" y="285"/>
                  </a:moveTo>
                  <a:cubicBezTo>
                    <a:pt x="105" y="285"/>
                    <a:pt x="105" y="285"/>
                    <a:pt x="105" y="282"/>
                  </a:cubicBezTo>
                  <a:cubicBezTo>
                    <a:pt x="105" y="276"/>
                    <a:pt x="105" y="267"/>
                    <a:pt x="105" y="261"/>
                  </a:cubicBezTo>
                  <a:cubicBezTo>
                    <a:pt x="105" y="258"/>
                    <a:pt x="102" y="258"/>
                    <a:pt x="102" y="258"/>
                  </a:cubicBezTo>
                  <a:cubicBezTo>
                    <a:pt x="84" y="258"/>
                    <a:pt x="84" y="255"/>
                    <a:pt x="75" y="270"/>
                  </a:cubicBezTo>
                  <a:cubicBezTo>
                    <a:pt x="75" y="270"/>
                    <a:pt x="72" y="270"/>
                    <a:pt x="72" y="273"/>
                  </a:cubicBezTo>
                  <a:cubicBezTo>
                    <a:pt x="72" y="267"/>
                    <a:pt x="66" y="267"/>
                    <a:pt x="63" y="264"/>
                  </a:cubicBezTo>
                  <a:cubicBezTo>
                    <a:pt x="63" y="261"/>
                    <a:pt x="63" y="261"/>
                    <a:pt x="60" y="258"/>
                  </a:cubicBezTo>
                  <a:cubicBezTo>
                    <a:pt x="60" y="243"/>
                    <a:pt x="54" y="243"/>
                    <a:pt x="51" y="234"/>
                  </a:cubicBezTo>
                  <a:cubicBezTo>
                    <a:pt x="48" y="231"/>
                    <a:pt x="48" y="231"/>
                    <a:pt x="45" y="231"/>
                  </a:cubicBezTo>
                  <a:cubicBezTo>
                    <a:pt x="45" y="222"/>
                    <a:pt x="51" y="222"/>
                    <a:pt x="54" y="216"/>
                  </a:cubicBezTo>
                  <a:cubicBezTo>
                    <a:pt x="54" y="198"/>
                    <a:pt x="36" y="201"/>
                    <a:pt x="30" y="195"/>
                  </a:cubicBezTo>
                  <a:cubicBezTo>
                    <a:pt x="30" y="192"/>
                    <a:pt x="30" y="192"/>
                    <a:pt x="30" y="189"/>
                  </a:cubicBezTo>
                  <a:cubicBezTo>
                    <a:pt x="27" y="189"/>
                    <a:pt x="27" y="186"/>
                    <a:pt x="27" y="186"/>
                  </a:cubicBezTo>
                  <a:cubicBezTo>
                    <a:pt x="27" y="177"/>
                    <a:pt x="36" y="174"/>
                    <a:pt x="42" y="171"/>
                  </a:cubicBezTo>
                  <a:cubicBezTo>
                    <a:pt x="45" y="168"/>
                    <a:pt x="48" y="165"/>
                    <a:pt x="51" y="162"/>
                  </a:cubicBezTo>
                  <a:cubicBezTo>
                    <a:pt x="51" y="147"/>
                    <a:pt x="45" y="132"/>
                    <a:pt x="39" y="126"/>
                  </a:cubicBezTo>
                  <a:cubicBezTo>
                    <a:pt x="33" y="126"/>
                    <a:pt x="30" y="126"/>
                    <a:pt x="27" y="126"/>
                  </a:cubicBezTo>
                  <a:cubicBezTo>
                    <a:pt x="24" y="126"/>
                    <a:pt x="24" y="129"/>
                    <a:pt x="24" y="129"/>
                  </a:cubicBezTo>
                  <a:cubicBezTo>
                    <a:pt x="21" y="129"/>
                    <a:pt x="21" y="129"/>
                    <a:pt x="18" y="129"/>
                  </a:cubicBezTo>
                  <a:cubicBezTo>
                    <a:pt x="12" y="123"/>
                    <a:pt x="12" y="111"/>
                    <a:pt x="9" y="105"/>
                  </a:cubicBezTo>
                  <a:cubicBezTo>
                    <a:pt x="6" y="102"/>
                    <a:pt x="3" y="102"/>
                    <a:pt x="0" y="99"/>
                  </a:cubicBezTo>
                  <a:cubicBezTo>
                    <a:pt x="0" y="87"/>
                    <a:pt x="12" y="81"/>
                    <a:pt x="21" y="72"/>
                  </a:cubicBezTo>
                  <a:cubicBezTo>
                    <a:pt x="24" y="60"/>
                    <a:pt x="21" y="48"/>
                    <a:pt x="21" y="36"/>
                  </a:cubicBezTo>
                  <a:cubicBezTo>
                    <a:pt x="21" y="33"/>
                    <a:pt x="21" y="33"/>
                    <a:pt x="24" y="33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30" y="39"/>
                    <a:pt x="33" y="54"/>
                    <a:pt x="45" y="57"/>
                  </a:cubicBezTo>
                  <a:cubicBezTo>
                    <a:pt x="48" y="57"/>
                    <a:pt x="51" y="57"/>
                    <a:pt x="54" y="57"/>
                  </a:cubicBezTo>
                  <a:cubicBezTo>
                    <a:pt x="63" y="48"/>
                    <a:pt x="60" y="42"/>
                    <a:pt x="66" y="30"/>
                  </a:cubicBezTo>
                  <a:cubicBezTo>
                    <a:pt x="66" y="30"/>
                    <a:pt x="66" y="27"/>
                    <a:pt x="66" y="24"/>
                  </a:cubicBezTo>
                  <a:cubicBezTo>
                    <a:pt x="60" y="18"/>
                    <a:pt x="54" y="12"/>
                    <a:pt x="48" y="6"/>
                  </a:cubicBezTo>
                  <a:cubicBezTo>
                    <a:pt x="48" y="0"/>
                    <a:pt x="51" y="0"/>
                    <a:pt x="54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66" y="6"/>
                    <a:pt x="75" y="15"/>
                    <a:pt x="78" y="27"/>
                  </a:cubicBezTo>
                  <a:cubicBezTo>
                    <a:pt x="81" y="30"/>
                    <a:pt x="84" y="36"/>
                    <a:pt x="87" y="39"/>
                  </a:cubicBezTo>
                  <a:cubicBezTo>
                    <a:pt x="99" y="39"/>
                    <a:pt x="111" y="42"/>
                    <a:pt x="123" y="45"/>
                  </a:cubicBezTo>
                  <a:cubicBezTo>
                    <a:pt x="126" y="48"/>
                    <a:pt x="129" y="48"/>
                    <a:pt x="132" y="51"/>
                  </a:cubicBezTo>
                  <a:cubicBezTo>
                    <a:pt x="138" y="63"/>
                    <a:pt x="140" y="84"/>
                    <a:pt x="155" y="96"/>
                  </a:cubicBezTo>
                  <a:cubicBezTo>
                    <a:pt x="155" y="96"/>
                    <a:pt x="155" y="99"/>
                    <a:pt x="158" y="99"/>
                  </a:cubicBezTo>
                  <a:cubicBezTo>
                    <a:pt x="161" y="99"/>
                    <a:pt x="170" y="99"/>
                    <a:pt x="176" y="96"/>
                  </a:cubicBezTo>
                  <a:cubicBezTo>
                    <a:pt x="179" y="84"/>
                    <a:pt x="176" y="90"/>
                    <a:pt x="188" y="87"/>
                  </a:cubicBezTo>
                  <a:cubicBezTo>
                    <a:pt x="188" y="90"/>
                    <a:pt x="194" y="99"/>
                    <a:pt x="194" y="108"/>
                  </a:cubicBezTo>
                  <a:cubicBezTo>
                    <a:pt x="188" y="111"/>
                    <a:pt x="179" y="111"/>
                    <a:pt x="173" y="111"/>
                  </a:cubicBezTo>
                  <a:cubicBezTo>
                    <a:pt x="170" y="114"/>
                    <a:pt x="167" y="120"/>
                    <a:pt x="167" y="123"/>
                  </a:cubicBezTo>
                  <a:cubicBezTo>
                    <a:pt x="167" y="129"/>
                    <a:pt x="167" y="132"/>
                    <a:pt x="167" y="135"/>
                  </a:cubicBezTo>
                  <a:cubicBezTo>
                    <a:pt x="161" y="141"/>
                    <a:pt x="161" y="141"/>
                    <a:pt x="161" y="150"/>
                  </a:cubicBezTo>
                  <a:cubicBezTo>
                    <a:pt x="167" y="156"/>
                    <a:pt x="176" y="162"/>
                    <a:pt x="182" y="171"/>
                  </a:cubicBezTo>
                  <a:cubicBezTo>
                    <a:pt x="185" y="171"/>
                    <a:pt x="191" y="171"/>
                    <a:pt x="194" y="177"/>
                  </a:cubicBezTo>
                  <a:cubicBezTo>
                    <a:pt x="197" y="180"/>
                    <a:pt x="200" y="183"/>
                    <a:pt x="203" y="186"/>
                  </a:cubicBezTo>
                  <a:cubicBezTo>
                    <a:pt x="209" y="186"/>
                    <a:pt x="218" y="186"/>
                    <a:pt x="227" y="189"/>
                  </a:cubicBezTo>
                  <a:cubicBezTo>
                    <a:pt x="227" y="189"/>
                    <a:pt x="230" y="189"/>
                    <a:pt x="230" y="192"/>
                  </a:cubicBezTo>
                  <a:cubicBezTo>
                    <a:pt x="230" y="195"/>
                    <a:pt x="230" y="195"/>
                    <a:pt x="230" y="198"/>
                  </a:cubicBezTo>
                  <a:cubicBezTo>
                    <a:pt x="221" y="210"/>
                    <a:pt x="206" y="201"/>
                    <a:pt x="206" y="219"/>
                  </a:cubicBezTo>
                  <a:cubicBezTo>
                    <a:pt x="209" y="222"/>
                    <a:pt x="209" y="225"/>
                    <a:pt x="209" y="228"/>
                  </a:cubicBezTo>
                  <a:cubicBezTo>
                    <a:pt x="203" y="231"/>
                    <a:pt x="200" y="234"/>
                    <a:pt x="197" y="234"/>
                  </a:cubicBezTo>
                  <a:cubicBezTo>
                    <a:pt x="197" y="243"/>
                    <a:pt x="197" y="252"/>
                    <a:pt x="197" y="258"/>
                  </a:cubicBezTo>
                  <a:cubicBezTo>
                    <a:pt x="188" y="273"/>
                    <a:pt x="179" y="276"/>
                    <a:pt x="164" y="279"/>
                  </a:cubicBezTo>
                  <a:cubicBezTo>
                    <a:pt x="152" y="282"/>
                    <a:pt x="146" y="285"/>
                    <a:pt x="138" y="282"/>
                  </a:cubicBezTo>
                  <a:cubicBezTo>
                    <a:pt x="129" y="273"/>
                    <a:pt x="129" y="267"/>
                    <a:pt x="123" y="264"/>
                  </a:cubicBezTo>
                  <a:cubicBezTo>
                    <a:pt x="117" y="264"/>
                    <a:pt x="120" y="264"/>
                    <a:pt x="117" y="270"/>
                  </a:cubicBezTo>
                  <a:cubicBezTo>
                    <a:pt x="114" y="276"/>
                    <a:pt x="114" y="279"/>
                    <a:pt x="114" y="285"/>
                  </a:cubicBezTo>
                  <a:cubicBezTo>
                    <a:pt x="111" y="285"/>
                    <a:pt x="108" y="285"/>
                    <a:pt x="108" y="285"/>
                  </a:cubicBezTo>
                  <a:close/>
                </a:path>
              </a:pathLst>
            </a:custGeom>
            <a:solidFill>
              <a:srgbClr val="FF0000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29" name="Freeform 31"/>
            <p:cNvSpPr>
              <a:spLocks/>
            </p:cNvSpPr>
            <p:nvPr/>
          </p:nvSpPr>
          <p:spPr bwMode="auto">
            <a:xfrm>
              <a:off x="7783890" y="3759815"/>
              <a:ext cx="656114" cy="583201"/>
            </a:xfrm>
            <a:custGeom>
              <a:avLst/>
              <a:gdLst>
                <a:gd name="T0" fmla="*/ 1193526160 w 275"/>
                <a:gd name="T1" fmla="*/ 1856664263 h 270"/>
                <a:gd name="T2" fmla="*/ 1090041079 w 275"/>
                <a:gd name="T3" fmla="*/ 1836034522 h 270"/>
                <a:gd name="T4" fmla="*/ 1090041079 w 275"/>
                <a:gd name="T5" fmla="*/ 1794775039 h 270"/>
                <a:gd name="T6" fmla="*/ 1214221075 w 275"/>
                <a:gd name="T7" fmla="*/ 1712256074 h 270"/>
                <a:gd name="T8" fmla="*/ 1234918617 w 275"/>
                <a:gd name="T9" fmla="*/ 1670996591 h 270"/>
                <a:gd name="T10" fmla="*/ 1048645996 w 275"/>
                <a:gd name="T11" fmla="*/ 1526591024 h 270"/>
                <a:gd name="T12" fmla="*/ 965858457 w 275"/>
                <a:gd name="T13" fmla="*/ 1464701800 h 270"/>
                <a:gd name="T14" fmla="*/ 820978293 w 275"/>
                <a:gd name="T15" fmla="*/ 1361552766 h 270"/>
                <a:gd name="T16" fmla="*/ 758888295 w 275"/>
                <a:gd name="T17" fmla="*/ 1279033800 h 270"/>
                <a:gd name="T18" fmla="*/ 800283378 w 275"/>
                <a:gd name="T19" fmla="*/ 1155257975 h 270"/>
                <a:gd name="T20" fmla="*/ 820978293 w 275"/>
                <a:gd name="T21" fmla="*/ 1093368751 h 270"/>
                <a:gd name="T22" fmla="*/ 986555999 w 275"/>
                <a:gd name="T23" fmla="*/ 1052109268 h 270"/>
                <a:gd name="T24" fmla="*/ 924463374 w 275"/>
                <a:gd name="T25" fmla="*/ 866444219 h 270"/>
                <a:gd name="T26" fmla="*/ 800283378 w 275"/>
                <a:gd name="T27" fmla="*/ 866444219 h 270"/>
                <a:gd name="T28" fmla="*/ 800283378 w 275"/>
                <a:gd name="T29" fmla="*/ 928333443 h 270"/>
                <a:gd name="T30" fmla="*/ 717495839 w 275"/>
                <a:gd name="T31" fmla="*/ 948960562 h 270"/>
                <a:gd name="T32" fmla="*/ 655403050 w 275"/>
                <a:gd name="T33" fmla="*/ 887073960 h 270"/>
                <a:gd name="T34" fmla="*/ 517422942 w 275"/>
                <a:gd name="T35" fmla="*/ 598257418 h 270"/>
                <a:gd name="T36" fmla="*/ 351847863 w 275"/>
                <a:gd name="T37" fmla="*/ 556997935 h 270"/>
                <a:gd name="T38" fmla="*/ 227667785 w 275"/>
                <a:gd name="T39" fmla="*/ 515741075 h 270"/>
                <a:gd name="T40" fmla="*/ 206970244 w 275"/>
                <a:gd name="T41" fmla="*/ 474481592 h 270"/>
                <a:gd name="T42" fmla="*/ 20697547 w 275"/>
                <a:gd name="T43" fmla="*/ 247554355 h 270"/>
                <a:gd name="T44" fmla="*/ 82787560 w 275"/>
                <a:gd name="T45" fmla="*/ 144408230 h 270"/>
                <a:gd name="T46" fmla="*/ 124182663 w 275"/>
                <a:gd name="T47" fmla="*/ 185665132 h 270"/>
                <a:gd name="T48" fmla="*/ 124182663 w 275"/>
                <a:gd name="T49" fmla="*/ 206294873 h 270"/>
                <a:gd name="T50" fmla="*/ 227667785 w 275"/>
                <a:gd name="T51" fmla="*/ 309443579 h 270"/>
                <a:gd name="T52" fmla="*/ 413940488 w 275"/>
                <a:gd name="T53" fmla="*/ 350703144 h 270"/>
                <a:gd name="T54" fmla="*/ 572615511 w 275"/>
                <a:gd name="T55" fmla="*/ 268184097 h 270"/>
                <a:gd name="T56" fmla="*/ 634708135 w 275"/>
                <a:gd name="T57" fmla="*/ 268184097 h 270"/>
                <a:gd name="T58" fmla="*/ 717495839 w 275"/>
                <a:gd name="T59" fmla="*/ 185665132 h 270"/>
                <a:gd name="T60" fmla="*/ 841675835 w 275"/>
                <a:gd name="T61" fmla="*/ 0 h 270"/>
                <a:gd name="T62" fmla="*/ 841675835 w 275"/>
                <a:gd name="T63" fmla="*/ 103148748 h 270"/>
                <a:gd name="T64" fmla="*/ 945160916 w 275"/>
                <a:gd name="T65" fmla="*/ 185665132 h 270"/>
                <a:gd name="T66" fmla="*/ 1193526160 w 275"/>
                <a:gd name="T67" fmla="*/ 309443579 h 270"/>
                <a:gd name="T68" fmla="*/ 1441889107 w 275"/>
                <a:gd name="T69" fmla="*/ 763295512 h 270"/>
                <a:gd name="T70" fmla="*/ 1524676646 w 275"/>
                <a:gd name="T71" fmla="*/ 948960562 h 270"/>
                <a:gd name="T72" fmla="*/ 1835131889 w 275"/>
                <a:gd name="T73" fmla="*/ 1134628234 h 270"/>
                <a:gd name="T74" fmla="*/ 1835131889 w 275"/>
                <a:gd name="T75" fmla="*/ 1175887716 h 270"/>
                <a:gd name="T76" fmla="*/ 1648859269 w 275"/>
                <a:gd name="T77" fmla="*/ 1175887716 h 270"/>
                <a:gd name="T78" fmla="*/ 1648859269 w 275"/>
                <a:gd name="T79" fmla="*/ 1258406681 h 270"/>
                <a:gd name="T80" fmla="*/ 1752341723 w 275"/>
                <a:gd name="T81" fmla="*/ 1299663542 h 270"/>
                <a:gd name="T82" fmla="*/ 1752341723 w 275"/>
                <a:gd name="T83" fmla="*/ 1382182835 h 270"/>
                <a:gd name="T84" fmla="*/ 1897221887 w 275"/>
                <a:gd name="T85" fmla="*/ 1444072059 h 270"/>
                <a:gd name="T86" fmla="*/ 1897221887 w 275"/>
                <a:gd name="T87" fmla="*/ 1464701800 h 270"/>
                <a:gd name="T88" fmla="*/ 1752341723 w 275"/>
                <a:gd name="T89" fmla="*/ 1609109989 h 270"/>
                <a:gd name="T90" fmla="*/ 1752341723 w 275"/>
                <a:gd name="T91" fmla="*/ 1629737108 h 270"/>
                <a:gd name="T92" fmla="*/ 1586766644 w 275"/>
                <a:gd name="T93" fmla="*/ 1774145298 h 270"/>
                <a:gd name="T94" fmla="*/ 1462586648 w 275"/>
                <a:gd name="T95" fmla="*/ 1815404780 h 270"/>
                <a:gd name="T96" fmla="*/ 1462586648 w 275"/>
                <a:gd name="T97" fmla="*/ 1836034522 h 270"/>
                <a:gd name="T98" fmla="*/ 1276313700 w 275"/>
                <a:gd name="T99" fmla="*/ 1815404780 h 270"/>
                <a:gd name="T100" fmla="*/ 1193526160 w 275"/>
                <a:gd name="T101" fmla="*/ 1856664263 h 27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5"/>
                <a:gd name="T154" fmla="*/ 0 h 270"/>
                <a:gd name="T155" fmla="*/ 275 w 275"/>
                <a:gd name="T156" fmla="*/ 270 h 27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5" h="270">
                  <a:moveTo>
                    <a:pt x="173" y="270"/>
                  </a:moveTo>
                  <a:cubicBezTo>
                    <a:pt x="164" y="267"/>
                    <a:pt x="161" y="267"/>
                    <a:pt x="158" y="267"/>
                  </a:cubicBezTo>
                  <a:cubicBezTo>
                    <a:pt x="158" y="264"/>
                    <a:pt x="158" y="264"/>
                    <a:pt x="158" y="261"/>
                  </a:cubicBezTo>
                  <a:cubicBezTo>
                    <a:pt x="146" y="258"/>
                    <a:pt x="173" y="249"/>
                    <a:pt x="176" y="249"/>
                  </a:cubicBezTo>
                  <a:cubicBezTo>
                    <a:pt x="176" y="246"/>
                    <a:pt x="179" y="246"/>
                    <a:pt x="179" y="243"/>
                  </a:cubicBezTo>
                  <a:cubicBezTo>
                    <a:pt x="179" y="219"/>
                    <a:pt x="164" y="225"/>
                    <a:pt x="152" y="222"/>
                  </a:cubicBezTo>
                  <a:cubicBezTo>
                    <a:pt x="143" y="222"/>
                    <a:pt x="140" y="213"/>
                    <a:pt x="140" y="213"/>
                  </a:cubicBezTo>
                  <a:cubicBezTo>
                    <a:pt x="128" y="207"/>
                    <a:pt x="122" y="204"/>
                    <a:pt x="119" y="198"/>
                  </a:cubicBezTo>
                  <a:cubicBezTo>
                    <a:pt x="110" y="192"/>
                    <a:pt x="110" y="189"/>
                    <a:pt x="110" y="186"/>
                  </a:cubicBezTo>
                  <a:cubicBezTo>
                    <a:pt x="116" y="180"/>
                    <a:pt x="116" y="174"/>
                    <a:pt x="116" y="168"/>
                  </a:cubicBezTo>
                  <a:cubicBezTo>
                    <a:pt x="116" y="165"/>
                    <a:pt x="116" y="162"/>
                    <a:pt x="119" y="159"/>
                  </a:cubicBezTo>
                  <a:cubicBezTo>
                    <a:pt x="125" y="159"/>
                    <a:pt x="134" y="162"/>
                    <a:pt x="143" y="153"/>
                  </a:cubicBezTo>
                  <a:cubicBezTo>
                    <a:pt x="143" y="141"/>
                    <a:pt x="140" y="129"/>
                    <a:pt x="134" y="126"/>
                  </a:cubicBezTo>
                  <a:cubicBezTo>
                    <a:pt x="125" y="126"/>
                    <a:pt x="122" y="126"/>
                    <a:pt x="116" y="126"/>
                  </a:cubicBezTo>
                  <a:cubicBezTo>
                    <a:pt x="116" y="129"/>
                    <a:pt x="116" y="132"/>
                    <a:pt x="116" y="135"/>
                  </a:cubicBezTo>
                  <a:cubicBezTo>
                    <a:pt x="113" y="135"/>
                    <a:pt x="107" y="135"/>
                    <a:pt x="104" y="138"/>
                  </a:cubicBezTo>
                  <a:cubicBezTo>
                    <a:pt x="101" y="132"/>
                    <a:pt x="101" y="132"/>
                    <a:pt x="95" y="129"/>
                  </a:cubicBezTo>
                  <a:cubicBezTo>
                    <a:pt x="86" y="111"/>
                    <a:pt x="83" y="96"/>
                    <a:pt x="75" y="87"/>
                  </a:cubicBezTo>
                  <a:cubicBezTo>
                    <a:pt x="66" y="81"/>
                    <a:pt x="57" y="81"/>
                    <a:pt x="51" y="81"/>
                  </a:cubicBezTo>
                  <a:cubicBezTo>
                    <a:pt x="45" y="78"/>
                    <a:pt x="39" y="75"/>
                    <a:pt x="33" y="75"/>
                  </a:cubicBezTo>
                  <a:cubicBezTo>
                    <a:pt x="30" y="72"/>
                    <a:pt x="30" y="72"/>
                    <a:pt x="30" y="69"/>
                  </a:cubicBezTo>
                  <a:cubicBezTo>
                    <a:pt x="24" y="57"/>
                    <a:pt x="12" y="42"/>
                    <a:pt x="3" y="36"/>
                  </a:cubicBezTo>
                  <a:cubicBezTo>
                    <a:pt x="3" y="27"/>
                    <a:pt x="0" y="15"/>
                    <a:pt x="12" y="21"/>
                  </a:cubicBezTo>
                  <a:cubicBezTo>
                    <a:pt x="15" y="24"/>
                    <a:pt x="15" y="27"/>
                    <a:pt x="18" y="27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24" y="33"/>
                    <a:pt x="27" y="36"/>
                    <a:pt x="33" y="45"/>
                  </a:cubicBezTo>
                  <a:cubicBezTo>
                    <a:pt x="39" y="48"/>
                    <a:pt x="48" y="51"/>
                    <a:pt x="60" y="51"/>
                  </a:cubicBezTo>
                  <a:cubicBezTo>
                    <a:pt x="69" y="48"/>
                    <a:pt x="75" y="24"/>
                    <a:pt x="83" y="39"/>
                  </a:cubicBezTo>
                  <a:cubicBezTo>
                    <a:pt x="86" y="39"/>
                    <a:pt x="89" y="39"/>
                    <a:pt x="92" y="39"/>
                  </a:cubicBezTo>
                  <a:cubicBezTo>
                    <a:pt x="95" y="36"/>
                    <a:pt x="98" y="30"/>
                    <a:pt x="104" y="27"/>
                  </a:cubicBezTo>
                  <a:cubicBezTo>
                    <a:pt x="104" y="15"/>
                    <a:pt x="107" y="0"/>
                    <a:pt x="122" y="0"/>
                  </a:cubicBezTo>
                  <a:cubicBezTo>
                    <a:pt x="122" y="6"/>
                    <a:pt x="122" y="9"/>
                    <a:pt x="122" y="15"/>
                  </a:cubicBezTo>
                  <a:cubicBezTo>
                    <a:pt x="128" y="18"/>
                    <a:pt x="131" y="24"/>
                    <a:pt x="137" y="27"/>
                  </a:cubicBezTo>
                  <a:cubicBezTo>
                    <a:pt x="146" y="30"/>
                    <a:pt x="158" y="39"/>
                    <a:pt x="173" y="45"/>
                  </a:cubicBezTo>
                  <a:cubicBezTo>
                    <a:pt x="182" y="66"/>
                    <a:pt x="194" y="87"/>
                    <a:pt x="209" y="111"/>
                  </a:cubicBezTo>
                  <a:cubicBezTo>
                    <a:pt x="209" y="117"/>
                    <a:pt x="212" y="129"/>
                    <a:pt x="221" y="138"/>
                  </a:cubicBezTo>
                  <a:cubicBezTo>
                    <a:pt x="236" y="147"/>
                    <a:pt x="248" y="153"/>
                    <a:pt x="266" y="165"/>
                  </a:cubicBezTo>
                  <a:cubicBezTo>
                    <a:pt x="266" y="168"/>
                    <a:pt x="266" y="168"/>
                    <a:pt x="266" y="171"/>
                  </a:cubicBezTo>
                  <a:cubicBezTo>
                    <a:pt x="263" y="174"/>
                    <a:pt x="239" y="171"/>
                    <a:pt x="239" y="171"/>
                  </a:cubicBezTo>
                  <a:cubicBezTo>
                    <a:pt x="239" y="174"/>
                    <a:pt x="239" y="177"/>
                    <a:pt x="239" y="183"/>
                  </a:cubicBezTo>
                  <a:cubicBezTo>
                    <a:pt x="242" y="183"/>
                    <a:pt x="248" y="186"/>
                    <a:pt x="254" y="189"/>
                  </a:cubicBezTo>
                  <a:cubicBezTo>
                    <a:pt x="254" y="192"/>
                    <a:pt x="251" y="195"/>
                    <a:pt x="254" y="201"/>
                  </a:cubicBezTo>
                  <a:cubicBezTo>
                    <a:pt x="260" y="204"/>
                    <a:pt x="266" y="207"/>
                    <a:pt x="275" y="210"/>
                  </a:cubicBezTo>
                  <a:cubicBezTo>
                    <a:pt x="275" y="213"/>
                    <a:pt x="275" y="213"/>
                    <a:pt x="275" y="213"/>
                  </a:cubicBezTo>
                  <a:cubicBezTo>
                    <a:pt x="275" y="225"/>
                    <a:pt x="263" y="228"/>
                    <a:pt x="254" y="234"/>
                  </a:cubicBezTo>
                  <a:cubicBezTo>
                    <a:pt x="254" y="237"/>
                    <a:pt x="254" y="237"/>
                    <a:pt x="254" y="237"/>
                  </a:cubicBezTo>
                  <a:cubicBezTo>
                    <a:pt x="251" y="237"/>
                    <a:pt x="233" y="255"/>
                    <a:pt x="230" y="258"/>
                  </a:cubicBezTo>
                  <a:cubicBezTo>
                    <a:pt x="224" y="261"/>
                    <a:pt x="218" y="261"/>
                    <a:pt x="212" y="264"/>
                  </a:cubicBezTo>
                  <a:cubicBezTo>
                    <a:pt x="212" y="267"/>
                    <a:pt x="212" y="267"/>
                    <a:pt x="212" y="267"/>
                  </a:cubicBezTo>
                  <a:cubicBezTo>
                    <a:pt x="203" y="267"/>
                    <a:pt x="194" y="267"/>
                    <a:pt x="185" y="264"/>
                  </a:cubicBezTo>
                  <a:cubicBezTo>
                    <a:pt x="182" y="267"/>
                    <a:pt x="179" y="270"/>
                    <a:pt x="173" y="270"/>
                  </a:cubicBezTo>
                  <a:close/>
                </a:path>
              </a:pathLst>
            </a:custGeom>
            <a:solidFill>
              <a:srgbClr val="FF0000"/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5744891" y="1535541"/>
              <a:ext cx="2594173" cy="2016358"/>
            </a:xfrm>
            <a:custGeom>
              <a:avLst/>
              <a:gdLst>
                <a:gd name="T0" fmla="*/ 1853463737 w 1088"/>
                <a:gd name="T1" fmla="*/ 2147483647 h 932"/>
                <a:gd name="T2" fmla="*/ 1729441571 w 1088"/>
                <a:gd name="T3" fmla="*/ 2147483647 h 932"/>
                <a:gd name="T4" fmla="*/ 1192004856 w 1088"/>
                <a:gd name="T5" fmla="*/ 2147483647 h 932"/>
                <a:gd name="T6" fmla="*/ 654568305 w 1088"/>
                <a:gd name="T7" fmla="*/ 2147483647 h 932"/>
                <a:gd name="T8" fmla="*/ 737250788 w 1088"/>
                <a:gd name="T9" fmla="*/ 2147483647 h 932"/>
                <a:gd name="T10" fmla="*/ 165364679 w 1088"/>
                <a:gd name="T11" fmla="*/ 2147483647 h 932"/>
                <a:gd name="T12" fmla="*/ 0 w 1088"/>
                <a:gd name="T13" fmla="*/ 2147483647 h 932"/>
                <a:gd name="T14" fmla="*/ 1171333620 w 1088"/>
                <a:gd name="T15" fmla="*/ 2147483647 h 932"/>
                <a:gd name="T16" fmla="*/ 1688099099 w 1088"/>
                <a:gd name="T17" fmla="*/ 2147483647 h 932"/>
                <a:gd name="T18" fmla="*/ 2147483647 w 1088"/>
                <a:gd name="T19" fmla="*/ 2147483647 h 932"/>
                <a:gd name="T20" fmla="*/ 2147483647 w 1088"/>
                <a:gd name="T21" fmla="*/ 2147483647 h 932"/>
                <a:gd name="T22" fmla="*/ 2147483647 w 1088"/>
                <a:gd name="T23" fmla="*/ 2147483647 h 932"/>
                <a:gd name="T24" fmla="*/ 2147483647 w 1088"/>
                <a:gd name="T25" fmla="*/ 2147483647 h 932"/>
                <a:gd name="T26" fmla="*/ 2147483647 w 1088"/>
                <a:gd name="T27" fmla="*/ 2147483647 h 932"/>
                <a:gd name="T28" fmla="*/ 2147483647 w 1088"/>
                <a:gd name="T29" fmla="*/ 2147483647 h 932"/>
                <a:gd name="T30" fmla="*/ 2147483647 w 1088"/>
                <a:gd name="T31" fmla="*/ 2147483647 h 932"/>
                <a:gd name="T32" fmla="*/ 2147483647 w 1088"/>
                <a:gd name="T33" fmla="*/ 2028205796 h 932"/>
                <a:gd name="T34" fmla="*/ 2147483647 w 1088"/>
                <a:gd name="T35" fmla="*/ 2147483647 h 932"/>
                <a:gd name="T36" fmla="*/ 2147483647 w 1088"/>
                <a:gd name="T37" fmla="*/ 2110988714 h 932"/>
                <a:gd name="T38" fmla="*/ 2147483647 w 1088"/>
                <a:gd name="T39" fmla="*/ 1469414530 h 932"/>
                <a:gd name="T40" fmla="*/ 2147483647 w 1088"/>
                <a:gd name="T41" fmla="*/ 827837392 h 932"/>
                <a:gd name="T42" fmla="*/ 2147483647 w 1088"/>
                <a:gd name="T43" fmla="*/ 289742923 h 932"/>
                <a:gd name="T44" fmla="*/ 2147483647 w 1088"/>
                <a:gd name="T45" fmla="*/ 41391469 h 932"/>
                <a:gd name="T46" fmla="*/ 2147483647 w 1088"/>
                <a:gd name="T47" fmla="*/ 393222966 h 932"/>
                <a:gd name="T48" fmla="*/ 2147483647 w 1088"/>
                <a:gd name="T49" fmla="*/ 600182889 h 932"/>
                <a:gd name="T50" fmla="*/ 2147483647 w 1088"/>
                <a:gd name="T51" fmla="*/ 496702928 h 932"/>
                <a:gd name="T52" fmla="*/ 2147483647 w 1088"/>
                <a:gd name="T53" fmla="*/ 1262454280 h 932"/>
                <a:gd name="T54" fmla="*/ 2147483647 w 1088"/>
                <a:gd name="T55" fmla="*/ 1634980367 h 932"/>
                <a:gd name="T56" fmla="*/ 2147483647 w 1088"/>
                <a:gd name="T57" fmla="*/ 2090291671 h 932"/>
                <a:gd name="T58" fmla="*/ 2147483647 w 1088"/>
                <a:gd name="T59" fmla="*/ 2147483647 h 932"/>
                <a:gd name="T60" fmla="*/ 2147483647 w 1088"/>
                <a:gd name="T61" fmla="*/ 2147483647 h 932"/>
                <a:gd name="T62" fmla="*/ 2147483647 w 1088"/>
                <a:gd name="T63" fmla="*/ 2147483647 h 932"/>
                <a:gd name="T64" fmla="*/ 2147483647 w 1088"/>
                <a:gd name="T65" fmla="*/ 2147483647 h 932"/>
                <a:gd name="T66" fmla="*/ 2147483647 w 1088"/>
                <a:gd name="T67" fmla="*/ 2147483647 h 932"/>
                <a:gd name="T68" fmla="*/ 2147483647 w 1088"/>
                <a:gd name="T69" fmla="*/ 2147483647 h 932"/>
                <a:gd name="T70" fmla="*/ 2147483647 w 1088"/>
                <a:gd name="T71" fmla="*/ 2147483647 h 932"/>
                <a:gd name="T72" fmla="*/ 2147483647 w 1088"/>
                <a:gd name="T73" fmla="*/ 2147483647 h 932"/>
                <a:gd name="T74" fmla="*/ 2147483647 w 1088"/>
                <a:gd name="T75" fmla="*/ 2147483647 h 932"/>
                <a:gd name="T76" fmla="*/ 2147483647 w 1088"/>
                <a:gd name="T77" fmla="*/ 2147483647 h 932"/>
                <a:gd name="T78" fmla="*/ 2147483647 w 1088"/>
                <a:gd name="T79" fmla="*/ 2147483647 h 932"/>
                <a:gd name="T80" fmla="*/ 2147483647 w 1088"/>
                <a:gd name="T81" fmla="*/ 2147483647 h 932"/>
                <a:gd name="T82" fmla="*/ 2147483647 w 1088"/>
                <a:gd name="T83" fmla="*/ 2147483647 h 932"/>
                <a:gd name="T84" fmla="*/ 2147483647 w 1088"/>
                <a:gd name="T85" fmla="*/ 2147483647 h 932"/>
                <a:gd name="T86" fmla="*/ 2147483647 w 1088"/>
                <a:gd name="T87" fmla="*/ 2147483647 h 932"/>
                <a:gd name="T88" fmla="*/ 2147483647 w 1088"/>
                <a:gd name="T89" fmla="*/ 2147483647 h 932"/>
                <a:gd name="T90" fmla="*/ 2147483647 w 1088"/>
                <a:gd name="T91" fmla="*/ 2147483647 h 932"/>
                <a:gd name="T92" fmla="*/ 2147483647 w 1088"/>
                <a:gd name="T93" fmla="*/ 2147483647 h 932"/>
                <a:gd name="T94" fmla="*/ 2147483647 w 1088"/>
                <a:gd name="T95" fmla="*/ 2147483647 h 932"/>
                <a:gd name="T96" fmla="*/ 2147483647 w 1088"/>
                <a:gd name="T97" fmla="*/ 2147483647 h 932"/>
                <a:gd name="T98" fmla="*/ 2147483647 w 1088"/>
                <a:gd name="T99" fmla="*/ 2147483647 h 93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088"/>
                <a:gd name="T151" fmla="*/ 0 h 932"/>
                <a:gd name="T152" fmla="*/ 1088 w 1088"/>
                <a:gd name="T153" fmla="*/ 932 h 93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088" h="932">
                  <a:moveTo>
                    <a:pt x="278" y="932"/>
                  </a:moveTo>
                  <a:cubicBezTo>
                    <a:pt x="272" y="926"/>
                    <a:pt x="266" y="920"/>
                    <a:pt x="260" y="914"/>
                  </a:cubicBezTo>
                  <a:cubicBezTo>
                    <a:pt x="254" y="908"/>
                    <a:pt x="251" y="902"/>
                    <a:pt x="248" y="893"/>
                  </a:cubicBezTo>
                  <a:cubicBezTo>
                    <a:pt x="248" y="872"/>
                    <a:pt x="251" y="866"/>
                    <a:pt x="269" y="854"/>
                  </a:cubicBezTo>
                  <a:cubicBezTo>
                    <a:pt x="272" y="851"/>
                    <a:pt x="275" y="851"/>
                    <a:pt x="278" y="848"/>
                  </a:cubicBezTo>
                  <a:cubicBezTo>
                    <a:pt x="281" y="842"/>
                    <a:pt x="281" y="839"/>
                    <a:pt x="284" y="836"/>
                  </a:cubicBezTo>
                  <a:cubicBezTo>
                    <a:pt x="284" y="833"/>
                    <a:pt x="284" y="830"/>
                    <a:pt x="284" y="827"/>
                  </a:cubicBezTo>
                  <a:cubicBezTo>
                    <a:pt x="275" y="809"/>
                    <a:pt x="266" y="812"/>
                    <a:pt x="251" y="818"/>
                  </a:cubicBezTo>
                  <a:cubicBezTo>
                    <a:pt x="248" y="821"/>
                    <a:pt x="245" y="824"/>
                    <a:pt x="239" y="827"/>
                  </a:cubicBezTo>
                  <a:cubicBezTo>
                    <a:pt x="236" y="830"/>
                    <a:pt x="230" y="833"/>
                    <a:pt x="224" y="836"/>
                  </a:cubicBezTo>
                  <a:cubicBezTo>
                    <a:pt x="218" y="830"/>
                    <a:pt x="215" y="830"/>
                    <a:pt x="212" y="827"/>
                  </a:cubicBezTo>
                  <a:cubicBezTo>
                    <a:pt x="176" y="827"/>
                    <a:pt x="176" y="824"/>
                    <a:pt x="173" y="860"/>
                  </a:cubicBezTo>
                  <a:cubicBezTo>
                    <a:pt x="167" y="866"/>
                    <a:pt x="155" y="857"/>
                    <a:pt x="152" y="857"/>
                  </a:cubicBezTo>
                  <a:cubicBezTo>
                    <a:pt x="146" y="848"/>
                    <a:pt x="137" y="839"/>
                    <a:pt x="134" y="836"/>
                  </a:cubicBezTo>
                  <a:cubicBezTo>
                    <a:pt x="128" y="821"/>
                    <a:pt x="125" y="812"/>
                    <a:pt x="113" y="809"/>
                  </a:cubicBezTo>
                  <a:cubicBezTo>
                    <a:pt x="107" y="803"/>
                    <a:pt x="101" y="797"/>
                    <a:pt x="95" y="788"/>
                  </a:cubicBezTo>
                  <a:cubicBezTo>
                    <a:pt x="92" y="788"/>
                    <a:pt x="86" y="788"/>
                    <a:pt x="83" y="788"/>
                  </a:cubicBezTo>
                  <a:cubicBezTo>
                    <a:pt x="83" y="773"/>
                    <a:pt x="98" y="773"/>
                    <a:pt x="104" y="761"/>
                  </a:cubicBezTo>
                  <a:cubicBezTo>
                    <a:pt x="107" y="755"/>
                    <a:pt x="110" y="752"/>
                    <a:pt x="113" y="746"/>
                  </a:cubicBezTo>
                  <a:cubicBezTo>
                    <a:pt x="113" y="737"/>
                    <a:pt x="110" y="734"/>
                    <a:pt x="107" y="731"/>
                  </a:cubicBezTo>
                  <a:cubicBezTo>
                    <a:pt x="86" y="731"/>
                    <a:pt x="63" y="734"/>
                    <a:pt x="45" y="740"/>
                  </a:cubicBezTo>
                  <a:cubicBezTo>
                    <a:pt x="39" y="746"/>
                    <a:pt x="39" y="746"/>
                    <a:pt x="33" y="746"/>
                  </a:cubicBezTo>
                  <a:cubicBezTo>
                    <a:pt x="33" y="737"/>
                    <a:pt x="33" y="731"/>
                    <a:pt x="33" y="723"/>
                  </a:cubicBezTo>
                  <a:cubicBezTo>
                    <a:pt x="30" y="720"/>
                    <a:pt x="27" y="717"/>
                    <a:pt x="24" y="714"/>
                  </a:cubicBezTo>
                  <a:cubicBezTo>
                    <a:pt x="18" y="708"/>
                    <a:pt x="12" y="702"/>
                    <a:pt x="6" y="699"/>
                  </a:cubicBezTo>
                  <a:cubicBezTo>
                    <a:pt x="6" y="690"/>
                    <a:pt x="9" y="687"/>
                    <a:pt x="12" y="678"/>
                  </a:cubicBezTo>
                  <a:cubicBezTo>
                    <a:pt x="12" y="666"/>
                    <a:pt x="12" y="660"/>
                    <a:pt x="12" y="651"/>
                  </a:cubicBezTo>
                  <a:cubicBezTo>
                    <a:pt x="6" y="648"/>
                    <a:pt x="3" y="642"/>
                    <a:pt x="0" y="639"/>
                  </a:cubicBezTo>
                  <a:cubicBezTo>
                    <a:pt x="0" y="633"/>
                    <a:pt x="0" y="627"/>
                    <a:pt x="0" y="621"/>
                  </a:cubicBezTo>
                  <a:cubicBezTo>
                    <a:pt x="18" y="627"/>
                    <a:pt x="33" y="630"/>
                    <a:pt x="51" y="633"/>
                  </a:cubicBezTo>
                  <a:cubicBezTo>
                    <a:pt x="77" y="633"/>
                    <a:pt x="107" y="633"/>
                    <a:pt x="137" y="633"/>
                  </a:cubicBezTo>
                  <a:cubicBezTo>
                    <a:pt x="143" y="636"/>
                    <a:pt x="161" y="639"/>
                    <a:pt x="170" y="645"/>
                  </a:cubicBezTo>
                  <a:cubicBezTo>
                    <a:pt x="179" y="651"/>
                    <a:pt x="188" y="660"/>
                    <a:pt x="200" y="666"/>
                  </a:cubicBezTo>
                  <a:cubicBezTo>
                    <a:pt x="200" y="669"/>
                    <a:pt x="203" y="669"/>
                    <a:pt x="206" y="672"/>
                  </a:cubicBezTo>
                  <a:cubicBezTo>
                    <a:pt x="215" y="672"/>
                    <a:pt x="224" y="672"/>
                    <a:pt x="233" y="675"/>
                  </a:cubicBezTo>
                  <a:cubicBezTo>
                    <a:pt x="236" y="678"/>
                    <a:pt x="239" y="681"/>
                    <a:pt x="245" y="684"/>
                  </a:cubicBezTo>
                  <a:cubicBezTo>
                    <a:pt x="254" y="687"/>
                    <a:pt x="266" y="690"/>
                    <a:pt x="278" y="693"/>
                  </a:cubicBezTo>
                  <a:cubicBezTo>
                    <a:pt x="287" y="696"/>
                    <a:pt x="296" y="717"/>
                    <a:pt x="314" y="705"/>
                  </a:cubicBezTo>
                  <a:cubicBezTo>
                    <a:pt x="320" y="696"/>
                    <a:pt x="329" y="693"/>
                    <a:pt x="341" y="690"/>
                  </a:cubicBezTo>
                  <a:cubicBezTo>
                    <a:pt x="350" y="681"/>
                    <a:pt x="356" y="678"/>
                    <a:pt x="370" y="675"/>
                  </a:cubicBezTo>
                  <a:cubicBezTo>
                    <a:pt x="370" y="669"/>
                    <a:pt x="382" y="669"/>
                    <a:pt x="388" y="666"/>
                  </a:cubicBezTo>
                  <a:cubicBezTo>
                    <a:pt x="397" y="663"/>
                    <a:pt x="406" y="654"/>
                    <a:pt x="415" y="651"/>
                  </a:cubicBezTo>
                  <a:cubicBezTo>
                    <a:pt x="424" y="648"/>
                    <a:pt x="433" y="648"/>
                    <a:pt x="445" y="648"/>
                  </a:cubicBezTo>
                  <a:cubicBezTo>
                    <a:pt x="457" y="651"/>
                    <a:pt x="493" y="660"/>
                    <a:pt x="505" y="648"/>
                  </a:cubicBezTo>
                  <a:cubicBezTo>
                    <a:pt x="529" y="645"/>
                    <a:pt x="544" y="624"/>
                    <a:pt x="559" y="606"/>
                  </a:cubicBezTo>
                  <a:cubicBezTo>
                    <a:pt x="565" y="600"/>
                    <a:pt x="571" y="597"/>
                    <a:pt x="577" y="591"/>
                  </a:cubicBezTo>
                  <a:cubicBezTo>
                    <a:pt x="580" y="588"/>
                    <a:pt x="586" y="582"/>
                    <a:pt x="592" y="579"/>
                  </a:cubicBezTo>
                  <a:cubicBezTo>
                    <a:pt x="595" y="576"/>
                    <a:pt x="601" y="573"/>
                    <a:pt x="607" y="570"/>
                  </a:cubicBezTo>
                  <a:cubicBezTo>
                    <a:pt x="607" y="564"/>
                    <a:pt x="607" y="561"/>
                    <a:pt x="607" y="555"/>
                  </a:cubicBezTo>
                  <a:cubicBezTo>
                    <a:pt x="601" y="549"/>
                    <a:pt x="595" y="546"/>
                    <a:pt x="589" y="540"/>
                  </a:cubicBezTo>
                  <a:cubicBezTo>
                    <a:pt x="589" y="537"/>
                    <a:pt x="586" y="531"/>
                    <a:pt x="586" y="528"/>
                  </a:cubicBezTo>
                  <a:cubicBezTo>
                    <a:pt x="589" y="510"/>
                    <a:pt x="586" y="498"/>
                    <a:pt x="604" y="489"/>
                  </a:cubicBezTo>
                  <a:cubicBezTo>
                    <a:pt x="604" y="483"/>
                    <a:pt x="616" y="492"/>
                    <a:pt x="628" y="504"/>
                  </a:cubicBezTo>
                  <a:cubicBezTo>
                    <a:pt x="631" y="504"/>
                    <a:pt x="637" y="504"/>
                    <a:pt x="640" y="507"/>
                  </a:cubicBezTo>
                  <a:cubicBezTo>
                    <a:pt x="646" y="507"/>
                    <a:pt x="649" y="507"/>
                    <a:pt x="654" y="507"/>
                  </a:cubicBezTo>
                  <a:cubicBezTo>
                    <a:pt x="669" y="501"/>
                    <a:pt x="684" y="480"/>
                    <a:pt x="696" y="465"/>
                  </a:cubicBezTo>
                  <a:cubicBezTo>
                    <a:pt x="705" y="456"/>
                    <a:pt x="711" y="462"/>
                    <a:pt x="726" y="462"/>
                  </a:cubicBezTo>
                  <a:cubicBezTo>
                    <a:pt x="729" y="456"/>
                    <a:pt x="735" y="456"/>
                    <a:pt x="744" y="453"/>
                  </a:cubicBezTo>
                  <a:cubicBezTo>
                    <a:pt x="747" y="447"/>
                    <a:pt x="753" y="444"/>
                    <a:pt x="756" y="441"/>
                  </a:cubicBezTo>
                  <a:cubicBezTo>
                    <a:pt x="762" y="441"/>
                    <a:pt x="765" y="423"/>
                    <a:pt x="765" y="423"/>
                  </a:cubicBezTo>
                  <a:cubicBezTo>
                    <a:pt x="774" y="399"/>
                    <a:pt x="780" y="408"/>
                    <a:pt x="801" y="399"/>
                  </a:cubicBezTo>
                  <a:cubicBezTo>
                    <a:pt x="810" y="390"/>
                    <a:pt x="816" y="384"/>
                    <a:pt x="828" y="378"/>
                  </a:cubicBezTo>
                  <a:cubicBezTo>
                    <a:pt x="837" y="372"/>
                    <a:pt x="867" y="375"/>
                    <a:pt x="885" y="378"/>
                  </a:cubicBezTo>
                  <a:cubicBezTo>
                    <a:pt x="888" y="375"/>
                    <a:pt x="891" y="375"/>
                    <a:pt x="894" y="375"/>
                  </a:cubicBezTo>
                  <a:cubicBezTo>
                    <a:pt x="903" y="363"/>
                    <a:pt x="897" y="348"/>
                    <a:pt x="891" y="339"/>
                  </a:cubicBezTo>
                  <a:cubicBezTo>
                    <a:pt x="888" y="336"/>
                    <a:pt x="885" y="330"/>
                    <a:pt x="879" y="327"/>
                  </a:cubicBezTo>
                  <a:cubicBezTo>
                    <a:pt x="873" y="321"/>
                    <a:pt x="864" y="318"/>
                    <a:pt x="855" y="315"/>
                  </a:cubicBezTo>
                  <a:cubicBezTo>
                    <a:pt x="855" y="306"/>
                    <a:pt x="843" y="297"/>
                    <a:pt x="840" y="294"/>
                  </a:cubicBezTo>
                  <a:cubicBezTo>
                    <a:pt x="837" y="294"/>
                    <a:pt x="831" y="294"/>
                    <a:pt x="825" y="294"/>
                  </a:cubicBezTo>
                  <a:cubicBezTo>
                    <a:pt x="822" y="297"/>
                    <a:pt x="819" y="300"/>
                    <a:pt x="819" y="303"/>
                  </a:cubicBezTo>
                  <a:cubicBezTo>
                    <a:pt x="813" y="303"/>
                    <a:pt x="807" y="303"/>
                    <a:pt x="801" y="303"/>
                  </a:cubicBezTo>
                  <a:cubicBezTo>
                    <a:pt x="801" y="309"/>
                    <a:pt x="801" y="315"/>
                    <a:pt x="798" y="321"/>
                  </a:cubicBezTo>
                  <a:cubicBezTo>
                    <a:pt x="789" y="327"/>
                    <a:pt x="774" y="315"/>
                    <a:pt x="768" y="315"/>
                  </a:cubicBezTo>
                  <a:cubicBezTo>
                    <a:pt x="765" y="315"/>
                    <a:pt x="759" y="315"/>
                    <a:pt x="756" y="315"/>
                  </a:cubicBezTo>
                  <a:cubicBezTo>
                    <a:pt x="747" y="318"/>
                    <a:pt x="741" y="321"/>
                    <a:pt x="735" y="327"/>
                  </a:cubicBezTo>
                  <a:cubicBezTo>
                    <a:pt x="720" y="327"/>
                    <a:pt x="717" y="315"/>
                    <a:pt x="717" y="306"/>
                  </a:cubicBezTo>
                  <a:cubicBezTo>
                    <a:pt x="723" y="303"/>
                    <a:pt x="726" y="297"/>
                    <a:pt x="732" y="294"/>
                  </a:cubicBezTo>
                  <a:cubicBezTo>
                    <a:pt x="732" y="279"/>
                    <a:pt x="732" y="273"/>
                    <a:pt x="732" y="267"/>
                  </a:cubicBezTo>
                  <a:cubicBezTo>
                    <a:pt x="735" y="258"/>
                    <a:pt x="738" y="252"/>
                    <a:pt x="741" y="246"/>
                  </a:cubicBezTo>
                  <a:cubicBezTo>
                    <a:pt x="741" y="231"/>
                    <a:pt x="741" y="222"/>
                    <a:pt x="747" y="213"/>
                  </a:cubicBezTo>
                  <a:cubicBezTo>
                    <a:pt x="750" y="213"/>
                    <a:pt x="756" y="213"/>
                    <a:pt x="759" y="213"/>
                  </a:cubicBezTo>
                  <a:cubicBezTo>
                    <a:pt x="771" y="213"/>
                    <a:pt x="795" y="219"/>
                    <a:pt x="810" y="207"/>
                  </a:cubicBezTo>
                  <a:cubicBezTo>
                    <a:pt x="819" y="198"/>
                    <a:pt x="831" y="192"/>
                    <a:pt x="840" y="180"/>
                  </a:cubicBezTo>
                  <a:cubicBezTo>
                    <a:pt x="840" y="165"/>
                    <a:pt x="837" y="126"/>
                    <a:pt x="852" y="120"/>
                  </a:cubicBezTo>
                  <a:cubicBezTo>
                    <a:pt x="861" y="105"/>
                    <a:pt x="858" y="90"/>
                    <a:pt x="870" y="78"/>
                  </a:cubicBezTo>
                  <a:cubicBezTo>
                    <a:pt x="867" y="72"/>
                    <a:pt x="867" y="66"/>
                    <a:pt x="867" y="57"/>
                  </a:cubicBezTo>
                  <a:cubicBezTo>
                    <a:pt x="867" y="54"/>
                    <a:pt x="867" y="54"/>
                    <a:pt x="867" y="54"/>
                  </a:cubicBezTo>
                  <a:cubicBezTo>
                    <a:pt x="861" y="48"/>
                    <a:pt x="858" y="45"/>
                    <a:pt x="855" y="42"/>
                  </a:cubicBezTo>
                  <a:cubicBezTo>
                    <a:pt x="852" y="39"/>
                    <a:pt x="849" y="36"/>
                    <a:pt x="846" y="36"/>
                  </a:cubicBezTo>
                  <a:cubicBezTo>
                    <a:pt x="846" y="21"/>
                    <a:pt x="852" y="15"/>
                    <a:pt x="864" y="9"/>
                  </a:cubicBezTo>
                  <a:cubicBezTo>
                    <a:pt x="876" y="9"/>
                    <a:pt x="882" y="0"/>
                    <a:pt x="894" y="0"/>
                  </a:cubicBezTo>
                  <a:cubicBezTo>
                    <a:pt x="894" y="3"/>
                    <a:pt x="897" y="6"/>
                    <a:pt x="900" y="6"/>
                  </a:cubicBezTo>
                  <a:cubicBezTo>
                    <a:pt x="900" y="12"/>
                    <a:pt x="897" y="15"/>
                    <a:pt x="897" y="21"/>
                  </a:cubicBezTo>
                  <a:cubicBezTo>
                    <a:pt x="891" y="27"/>
                    <a:pt x="888" y="27"/>
                    <a:pt x="888" y="39"/>
                  </a:cubicBezTo>
                  <a:cubicBezTo>
                    <a:pt x="891" y="42"/>
                    <a:pt x="894" y="45"/>
                    <a:pt x="900" y="48"/>
                  </a:cubicBezTo>
                  <a:cubicBezTo>
                    <a:pt x="903" y="54"/>
                    <a:pt x="906" y="57"/>
                    <a:pt x="918" y="57"/>
                  </a:cubicBezTo>
                  <a:cubicBezTo>
                    <a:pt x="918" y="51"/>
                    <a:pt x="921" y="45"/>
                    <a:pt x="921" y="39"/>
                  </a:cubicBezTo>
                  <a:cubicBezTo>
                    <a:pt x="927" y="39"/>
                    <a:pt x="933" y="39"/>
                    <a:pt x="941" y="45"/>
                  </a:cubicBezTo>
                  <a:cubicBezTo>
                    <a:pt x="944" y="48"/>
                    <a:pt x="944" y="48"/>
                    <a:pt x="947" y="51"/>
                  </a:cubicBezTo>
                  <a:cubicBezTo>
                    <a:pt x="947" y="63"/>
                    <a:pt x="950" y="78"/>
                    <a:pt x="959" y="87"/>
                  </a:cubicBezTo>
                  <a:cubicBezTo>
                    <a:pt x="962" y="90"/>
                    <a:pt x="962" y="90"/>
                    <a:pt x="965" y="93"/>
                  </a:cubicBezTo>
                  <a:cubicBezTo>
                    <a:pt x="971" y="90"/>
                    <a:pt x="974" y="90"/>
                    <a:pt x="980" y="90"/>
                  </a:cubicBezTo>
                  <a:cubicBezTo>
                    <a:pt x="995" y="84"/>
                    <a:pt x="1010" y="87"/>
                    <a:pt x="1022" y="75"/>
                  </a:cubicBezTo>
                  <a:cubicBezTo>
                    <a:pt x="1031" y="54"/>
                    <a:pt x="1046" y="51"/>
                    <a:pt x="1058" y="72"/>
                  </a:cubicBezTo>
                  <a:cubicBezTo>
                    <a:pt x="1061" y="81"/>
                    <a:pt x="1064" y="90"/>
                    <a:pt x="1070" y="99"/>
                  </a:cubicBezTo>
                  <a:cubicBezTo>
                    <a:pt x="1070" y="108"/>
                    <a:pt x="1061" y="138"/>
                    <a:pt x="1055" y="147"/>
                  </a:cubicBezTo>
                  <a:cubicBezTo>
                    <a:pt x="1055" y="150"/>
                    <a:pt x="1055" y="156"/>
                    <a:pt x="1055" y="159"/>
                  </a:cubicBezTo>
                  <a:cubicBezTo>
                    <a:pt x="1058" y="168"/>
                    <a:pt x="1064" y="174"/>
                    <a:pt x="1067" y="183"/>
                  </a:cubicBezTo>
                  <a:cubicBezTo>
                    <a:pt x="1067" y="192"/>
                    <a:pt x="1052" y="213"/>
                    <a:pt x="1070" y="225"/>
                  </a:cubicBezTo>
                  <a:cubicBezTo>
                    <a:pt x="1073" y="231"/>
                    <a:pt x="1070" y="243"/>
                    <a:pt x="1070" y="255"/>
                  </a:cubicBezTo>
                  <a:cubicBezTo>
                    <a:pt x="1067" y="255"/>
                    <a:pt x="1064" y="255"/>
                    <a:pt x="1058" y="255"/>
                  </a:cubicBezTo>
                  <a:cubicBezTo>
                    <a:pt x="1052" y="249"/>
                    <a:pt x="1055" y="243"/>
                    <a:pt x="1055" y="237"/>
                  </a:cubicBezTo>
                  <a:cubicBezTo>
                    <a:pt x="1055" y="231"/>
                    <a:pt x="1055" y="231"/>
                    <a:pt x="1049" y="228"/>
                  </a:cubicBezTo>
                  <a:cubicBezTo>
                    <a:pt x="1028" y="228"/>
                    <a:pt x="1043" y="237"/>
                    <a:pt x="1034" y="249"/>
                  </a:cubicBezTo>
                  <a:cubicBezTo>
                    <a:pt x="1025" y="258"/>
                    <a:pt x="1019" y="267"/>
                    <a:pt x="1016" y="282"/>
                  </a:cubicBezTo>
                  <a:cubicBezTo>
                    <a:pt x="1013" y="288"/>
                    <a:pt x="1004" y="297"/>
                    <a:pt x="998" y="303"/>
                  </a:cubicBezTo>
                  <a:cubicBezTo>
                    <a:pt x="998" y="309"/>
                    <a:pt x="995" y="315"/>
                    <a:pt x="995" y="321"/>
                  </a:cubicBezTo>
                  <a:cubicBezTo>
                    <a:pt x="1001" y="324"/>
                    <a:pt x="1001" y="327"/>
                    <a:pt x="1007" y="336"/>
                  </a:cubicBezTo>
                  <a:cubicBezTo>
                    <a:pt x="1013" y="339"/>
                    <a:pt x="1016" y="342"/>
                    <a:pt x="1022" y="348"/>
                  </a:cubicBezTo>
                  <a:cubicBezTo>
                    <a:pt x="1028" y="345"/>
                    <a:pt x="1031" y="345"/>
                    <a:pt x="1037" y="345"/>
                  </a:cubicBezTo>
                  <a:cubicBezTo>
                    <a:pt x="1037" y="342"/>
                    <a:pt x="1040" y="336"/>
                    <a:pt x="1043" y="333"/>
                  </a:cubicBezTo>
                  <a:cubicBezTo>
                    <a:pt x="1043" y="336"/>
                    <a:pt x="1049" y="342"/>
                    <a:pt x="1049" y="351"/>
                  </a:cubicBezTo>
                  <a:cubicBezTo>
                    <a:pt x="1043" y="351"/>
                    <a:pt x="1037" y="354"/>
                    <a:pt x="1031" y="357"/>
                  </a:cubicBezTo>
                  <a:cubicBezTo>
                    <a:pt x="1031" y="360"/>
                    <a:pt x="1028" y="369"/>
                    <a:pt x="1037" y="375"/>
                  </a:cubicBezTo>
                  <a:cubicBezTo>
                    <a:pt x="1034" y="384"/>
                    <a:pt x="1025" y="393"/>
                    <a:pt x="1016" y="399"/>
                  </a:cubicBezTo>
                  <a:cubicBezTo>
                    <a:pt x="1013" y="399"/>
                    <a:pt x="1013" y="399"/>
                    <a:pt x="1010" y="399"/>
                  </a:cubicBezTo>
                  <a:cubicBezTo>
                    <a:pt x="1004" y="393"/>
                    <a:pt x="995" y="390"/>
                    <a:pt x="989" y="384"/>
                  </a:cubicBezTo>
                  <a:cubicBezTo>
                    <a:pt x="986" y="384"/>
                    <a:pt x="983" y="384"/>
                    <a:pt x="980" y="384"/>
                  </a:cubicBezTo>
                  <a:cubicBezTo>
                    <a:pt x="977" y="387"/>
                    <a:pt x="974" y="393"/>
                    <a:pt x="974" y="396"/>
                  </a:cubicBezTo>
                  <a:cubicBezTo>
                    <a:pt x="974" y="399"/>
                    <a:pt x="974" y="405"/>
                    <a:pt x="974" y="408"/>
                  </a:cubicBezTo>
                  <a:cubicBezTo>
                    <a:pt x="980" y="414"/>
                    <a:pt x="995" y="420"/>
                    <a:pt x="1004" y="435"/>
                  </a:cubicBezTo>
                  <a:cubicBezTo>
                    <a:pt x="1004" y="441"/>
                    <a:pt x="1004" y="447"/>
                    <a:pt x="1004" y="453"/>
                  </a:cubicBezTo>
                  <a:cubicBezTo>
                    <a:pt x="1010" y="462"/>
                    <a:pt x="1016" y="474"/>
                    <a:pt x="1019" y="486"/>
                  </a:cubicBezTo>
                  <a:cubicBezTo>
                    <a:pt x="1019" y="489"/>
                    <a:pt x="1022" y="492"/>
                    <a:pt x="1025" y="492"/>
                  </a:cubicBezTo>
                  <a:cubicBezTo>
                    <a:pt x="1025" y="492"/>
                    <a:pt x="1028" y="492"/>
                    <a:pt x="1031" y="492"/>
                  </a:cubicBezTo>
                  <a:cubicBezTo>
                    <a:pt x="1034" y="489"/>
                    <a:pt x="1037" y="483"/>
                    <a:pt x="1037" y="480"/>
                  </a:cubicBezTo>
                  <a:cubicBezTo>
                    <a:pt x="1043" y="474"/>
                    <a:pt x="1046" y="471"/>
                    <a:pt x="1052" y="468"/>
                  </a:cubicBezTo>
                  <a:cubicBezTo>
                    <a:pt x="1055" y="474"/>
                    <a:pt x="1061" y="483"/>
                    <a:pt x="1067" y="498"/>
                  </a:cubicBezTo>
                  <a:cubicBezTo>
                    <a:pt x="1070" y="507"/>
                    <a:pt x="1070" y="519"/>
                    <a:pt x="1085" y="525"/>
                  </a:cubicBezTo>
                  <a:cubicBezTo>
                    <a:pt x="1085" y="528"/>
                    <a:pt x="1088" y="528"/>
                    <a:pt x="1088" y="531"/>
                  </a:cubicBezTo>
                  <a:cubicBezTo>
                    <a:pt x="1085" y="537"/>
                    <a:pt x="1085" y="549"/>
                    <a:pt x="1085" y="558"/>
                  </a:cubicBezTo>
                  <a:cubicBezTo>
                    <a:pt x="1085" y="561"/>
                    <a:pt x="1082" y="564"/>
                    <a:pt x="1079" y="564"/>
                  </a:cubicBezTo>
                  <a:cubicBezTo>
                    <a:pt x="1070" y="564"/>
                    <a:pt x="1070" y="561"/>
                    <a:pt x="1067" y="558"/>
                  </a:cubicBezTo>
                  <a:cubicBezTo>
                    <a:pt x="1040" y="558"/>
                    <a:pt x="1037" y="561"/>
                    <a:pt x="1028" y="582"/>
                  </a:cubicBezTo>
                  <a:cubicBezTo>
                    <a:pt x="1025" y="582"/>
                    <a:pt x="1025" y="582"/>
                    <a:pt x="1022" y="585"/>
                  </a:cubicBezTo>
                  <a:cubicBezTo>
                    <a:pt x="1022" y="591"/>
                    <a:pt x="998" y="606"/>
                    <a:pt x="995" y="609"/>
                  </a:cubicBezTo>
                  <a:cubicBezTo>
                    <a:pt x="992" y="615"/>
                    <a:pt x="977" y="624"/>
                    <a:pt x="971" y="627"/>
                  </a:cubicBezTo>
                  <a:cubicBezTo>
                    <a:pt x="968" y="630"/>
                    <a:pt x="965" y="633"/>
                    <a:pt x="965" y="633"/>
                  </a:cubicBezTo>
                  <a:cubicBezTo>
                    <a:pt x="962" y="633"/>
                    <a:pt x="959" y="636"/>
                    <a:pt x="956" y="636"/>
                  </a:cubicBezTo>
                  <a:cubicBezTo>
                    <a:pt x="953" y="633"/>
                    <a:pt x="950" y="630"/>
                    <a:pt x="947" y="627"/>
                  </a:cubicBezTo>
                  <a:cubicBezTo>
                    <a:pt x="941" y="609"/>
                    <a:pt x="938" y="609"/>
                    <a:pt x="927" y="609"/>
                  </a:cubicBezTo>
                  <a:cubicBezTo>
                    <a:pt x="921" y="621"/>
                    <a:pt x="918" y="639"/>
                    <a:pt x="933" y="651"/>
                  </a:cubicBezTo>
                  <a:cubicBezTo>
                    <a:pt x="933" y="657"/>
                    <a:pt x="933" y="663"/>
                    <a:pt x="933" y="672"/>
                  </a:cubicBezTo>
                  <a:cubicBezTo>
                    <a:pt x="915" y="672"/>
                    <a:pt x="900" y="675"/>
                    <a:pt x="891" y="669"/>
                  </a:cubicBezTo>
                  <a:cubicBezTo>
                    <a:pt x="888" y="651"/>
                    <a:pt x="882" y="648"/>
                    <a:pt x="876" y="639"/>
                  </a:cubicBezTo>
                  <a:cubicBezTo>
                    <a:pt x="873" y="630"/>
                    <a:pt x="867" y="621"/>
                    <a:pt x="864" y="609"/>
                  </a:cubicBezTo>
                  <a:cubicBezTo>
                    <a:pt x="852" y="600"/>
                    <a:pt x="855" y="603"/>
                    <a:pt x="846" y="603"/>
                  </a:cubicBezTo>
                  <a:cubicBezTo>
                    <a:pt x="837" y="609"/>
                    <a:pt x="828" y="615"/>
                    <a:pt x="819" y="621"/>
                  </a:cubicBezTo>
                  <a:cubicBezTo>
                    <a:pt x="816" y="627"/>
                    <a:pt x="816" y="639"/>
                    <a:pt x="819" y="651"/>
                  </a:cubicBezTo>
                  <a:cubicBezTo>
                    <a:pt x="810" y="654"/>
                    <a:pt x="798" y="654"/>
                    <a:pt x="789" y="654"/>
                  </a:cubicBezTo>
                  <a:cubicBezTo>
                    <a:pt x="777" y="660"/>
                    <a:pt x="768" y="666"/>
                    <a:pt x="759" y="672"/>
                  </a:cubicBezTo>
                  <a:cubicBezTo>
                    <a:pt x="756" y="678"/>
                    <a:pt x="756" y="684"/>
                    <a:pt x="750" y="684"/>
                  </a:cubicBezTo>
                  <a:cubicBezTo>
                    <a:pt x="741" y="678"/>
                    <a:pt x="738" y="675"/>
                    <a:pt x="738" y="672"/>
                  </a:cubicBezTo>
                  <a:cubicBezTo>
                    <a:pt x="741" y="669"/>
                    <a:pt x="741" y="669"/>
                    <a:pt x="744" y="666"/>
                  </a:cubicBezTo>
                  <a:cubicBezTo>
                    <a:pt x="744" y="651"/>
                    <a:pt x="732" y="642"/>
                    <a:pt x="723" y="642"/>
                  </a:cubicBezTo>
                  <a:cubicBezTo>
                    <a:pt x="708" y="648"/>
                    <a:pt x="708" y="657"/>
                    <a:pt x="711" y="675"/>
                  </a:cubicBezTo>
                  <a:cubicBezTo>
                    <a:pt x="708" y="675"/>
                    <a:pt x="705" y="675"/>
                    <a:pt x="702" y="678"/>
                  </a:cubicBezTo>
                  <a:cubicBezTo>
                    <a:pt x="699" y="678"/>
                    <a:pt x="699" y="681"/>
                    <a:pt x="699" y="684"/>
                  </a:cubicBezTo>
                  <a:cubicBezTo>
                    <a:pt x="696" y="684"/>
                    <a:pt x="696" y="684"/>
                    <a:pt x="693" y="687"/>
                  </a:cubicBezTo>
                  <a:cubicBezTo>
                    <a:pt x="693" y="696"/>
                    <a:pt x="693" y="705"/>
                    <a:pt x="693" y="714"/>
                  </a:cubicBezTo>
                  <a:cubicBezTo>
                    <a:pt x="696" y="717"/>
                    <a:pt x="699" y="723"/>
                    <a:pt x="702" y="726"/>
                  </a:cubicBezTo>
                  <a:cubicBezTo>
                    <a:pt x="702" y="728"/>
                    <a:pt x="702" y="731"/>
                    <a:pt x="705" y="734"/>
                  </a:cubicBezTo>
                  <a:cubicBezTo>
                    <a:pt x="702" y="737"/>
                    <a:pt x="699" y="740"/>
                    <a:pt x="699" y="743"/>
                  </a:cubicBezTo>
                  <a:cubicBezTo>
                    <a:pt x="684" y="755"/>
                    <a:pt x="669" y="758"/>
                    <a:pt x="654" y="755"/>
                  </a:cubicBezTo>
                  <a:cubicBezTo>
                    <a:pt x="643" y="755"/>
                    <a:pt x="640" y="761"/>
                    <a:pt x="634" y="764"/>
                  </a:cubicBezTo>
                  <a:cubicBezTo>
                    <a:pt x="631" y="767"/>
                    <a:pt x="628" y="770"/>
                    <a:pt x="625" y="773"/>
                  </a:cubicBezTo>
                  <a:cubicBezTo>
                    <a:pt x="619" y="785"/>
                    <a:pt x="607" y="800"/>
                    <a:pt x="595" y="812"/>
                  </a:cubicBezTo>
                  <a:cubicBezTo>
                    <a:pt x="589" y="809"/>
                    <a:pt x="586" y="806"/>
                    <a:pt x="583" y="803"/>
                  </a:cubicBezTo>
                  <a:cubicBezTo>
                    <a:pt x="577" y="803"/>
                    <a:pt x="571" y="803"/>
                    <a:pt x="568" y="803"/>
                  </a:cubicBezTo>
                  <a:cubicBezTo>
                    <a:pt x="568" y="809"/>
                    <a:pt x="565" y="815"/>
                    <a:pt x="562" y="815"/>
                  </a:cubicBezTo>
                  <a:cubicBezTo>
                    <a:pt x="556" y="806"/>
                    <a:pt x="550" y="809"/>
                    <a:pt x="544" y="809"/>
                  </a:cubicBezTo>
                  <a:cubicBezTo>
                    <a:pt x="541" y="815"/>
                    <a:pt x="538" y="824"/>
                    <a:pt x="532" y="827"/>
                  </a:cubicBezTo>
                  <a:cubicBezTo>
                    <a:pt x="517" y="833"/>
                    <a:pt x="511" y="857"/>
                    <a:pt x="496" y="866"/>
                  </a:cubicBezTo>
                  <a:cubicBezTo>
                    <a:pt x="490" y="875"/>
                    <a:pt x="493" y="881"/>
                    <a:pt x="493" y="893"/>
                  </a:cubicBezTo>
                  <a:cubicBezTo>
                    <a:pt x="493" y="899"/>
                    <a:pt x="490" y="911"/>
                    <a:pt x="490" y="917"/>
                  </a:cubicBezTo>
                  <a:cubicBezTo>
                    <a:pt x="487" y="917"/>
                    <a:pt x="487" y="917"/>
                    <a:pt x="487" y="917"/>
                  </a:cubicBezTo>
                  <a:cubicBezTo>
                    <a:pt x="466" y="917"/>
                    <a:pt x="448" y="914"/>
                    <a:pt x="433" y="911"/>
                  </a:cubicBezTo>
                  <a:cubicBezTo>
                    <a:pt x="427" y="908"/>
                    <a:pt x="421" y="905"/>
                    <a:pt x="418" y="902"/>
                  </a:cubicBezTo>
                  <a:cubicBezTo>
                    <a:pt x="415" y="899"/>
                    <a:pt x="412" y="896"/>
                    <a:pt x="409" y="893"/>
                  </a:cubicBezTo>
                  <a:cubicBezTo>
                    <a:pt x="403" y="893"/>
                    <a:pt x="397" y="890"/>
                    <a:pt x="391" y="890"/>
                  </a:cubicBezTo>
                  <a:cubicBezTo>
                    <a:pt x="391" y="884"/>
                    <a:pt x="391" y="878"/>
                    <a:pt x="391" y="875"/>
                  </a:cubicBezTo>
                  <a:cubicBezTo>
                    <a:pt x="397" y="863"/>
                    <a:pt x="406" y="851"/>
                    <a:pt x="406" y="836"/>
                  </a:cubicBezTo>
                  <a:cubicBezTo>
                    <a:pt x="403" y="821"/>
                    <a:pt x="391" y="824"/>
                    <a:pt x="385" y="824"/>
                  </a:cubicBezTo>
                  <a:cubicBezTo>
                    <a:pt x="382" y="827"/>
                    <a:pt x="379" y="827"/>
                    <a:pt x="376" y="830"/>
                  </a:cubicBezTo>
                  <a:cubicBezTo>
                    <a:pt x="359" y="830"/>
                    <a:pt x="367" y="830"/>
                    <a:pt x="364" y="848"/>
                  </a:cubicBezTo>
                  <a:cubicBezTo>
                    <a:pt x="359" y="851"/>
                    <a:pt x="359" y="854"/>
                    <a:pt x="359" y="857"/>
                  </a:cubicBezTo>
                  <a:cubicBezTo>
                    <a:pt x="356" y="863"/>
                    <a:pt x="353" y="869"/>
                    <a:pt x="350" y="875"/>
                  </a:cubicBezTo>
                  <a:cubicBezTo>
                    <a:pt x="350" y="881"/>
                    <a:pt x="350" y="890"/>
                    <a:pt x="350" y="896"/>
                  </a:cubicBezTo>
                  <a:cubicBezTo>
                    <a:pt x="347" y="899"/>
                    <a:pt x="344" y="902"/>
                    <a:pt x="344" y="905"/>
                  </a:cubicBezTo>
                  <a:cubicBezTo>
                    <a:pt x="329" y="905"/>
                    <a:pt x="329" y="908"/>
                    <a:pt x="323" y="914"/>
                  </a:cubicBezTo>
                  <a:cubicBezTo>
                    <a:pt x="311" y="914"/>
                    <a:pt x="302" y="917"/>
                    <a:pt x="293" y="920"/>
                  </a:cubicBezTo>
                  <a:cubicBezTo>
                    <a:pt x="287" y="923"/>
                    <a:pt x="284" y="929"/>
                    <a:pt x="278" y="932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1" name="Freeform 15"/>
            <p:cNvSpPr>
              <a:spLocks/>
            </p:cNvSpPr>
            <p:nvPr/>
          </p:nvSpPr>
          <p:spPr bwMode="auto">
            <a:xfrm>
              <a:off x="7411850" y="2832709"/>
              <a:ext cx="634483" cy="848650"/>
            </a:xfrm>
            <a:custGeom>
              <a:avLst/>
              <a:gdLst>
                <a:gd name="T0" fmla="*/ 620601374 w 266"/>
                <a:gd name="T1" fmla="*/ 2147483647 h 392"/>
                <a:gd name="T2" fmla="*/ 144807428 w 266"/>
                <a:gd name="T3" fmla="*/ 2147483647 h 392"/>
                <a:gd name="T4" fmla="*/ 165494572 w 266"/>
                <a:gd name="T5" fmla="*/ 2147483647 h 392"/>
                <a:gd name="T6" fmla="*/ 20687150 w 266"/>
                <a:gd name="T7" fmla="*/ 1816773680 h 392"/>
                <a:gd name="T8" fmla="*/ 268927711 w 266"/>
                <a:gd name="T9" fmla="*/ 1485194514 h 392"/>
                <a:gd name="T10" fmla="*/ 82745973 w 266"/>
                <a:gd name="T11" fmla="*/ 1153617648 h 392"/>
                <a:gd name="T12" fmla="*/ 62058829 w 266"/>
                <a:gd name="T13" fmla="*/ 1153617648 h 392"/>
                <a:gd name="T14" fmla="*/ 165494572 w 266"/>
                <a:gd name="T15" fmla="*/ 1008552092 h 392"/>
                <a:gd name="T16" fmla="*/ 82745973 w 266"/>
                <a:gd name="T17" fmla="*/ 870393668 h 392"/>
                <a:gd name="T18" fmla="*/ 0 w 266"/>
                <a:gd name="T19" fmla="*/ 621710443 h 392"/>
                <a:gd name="T20" fmla="*/ 103433138 w 266"/>
                <a:gd name="T21" fmla="*/ 538814338 h 392"/>
                <a:gd name="T22" fmla="*/ 186179132 w 266"/>
                <a:gd name="T23" fmla="*/ 331579248 h 392"/>
                <a:gd name="T24" fmla="*/ 330986519 w 266"/>
                <a:gd name="T25" fmla="*/ 621710443 h 392"/>
                <a:gd name="T26" fmla="*/ 413732553 w 266"/>
                <a:gd name="T27" fmla="*/ 600986417 h 392"/>
                <a:gd name="T28" fmla="*/ 868839396 w 266"/>
                <a:gd name="T29" fmla="*/ 373024755 h 392"/>
                <a:gd name="T30" fmla="*/ 992959638 w 266"/>
                <a:gd name="T31" fmla="*/ 82893498 h 392"/>
                <a:gd name="T32" fmla="*/ 1261887266 w 266"/>
                <a:gd name="T33" fmla="*/ 414472807 h 392"/>
                <a:gd name="T34" fmla="*/ 1572186886 w 266"/>
                <a:gd name="T35" fmla="*/ 538814338 h 392"/>
                <a:gd name="T36" fmla="*/ 1551499741 w 266"/>
                <a:gd name="T37" fmla="*/ 787500190 h 392"/>
                <a:gd name="T38" fmla="*/ 1834218800 w 266"/>
                <a:gd name="T39" fmla="*/ 967104039 h 392"/>
                <a:gd name="T40" fmla="*/ 1489440933 w 266"/>
                <a:gd name="T41" fmla="*/ 1360852656 h 392"/>
                <a:gd name="T42" fmla="*/ 1199825832 w 266"/>
                <a:gd name="T43" fmla="*/ 1215787099 h 392"/>
                <a:gd name="T44" fmla="*/ 1055021072 w 266"/>
                <a:gd name="T45" fmla="*/ 987828065 h 392"/>
                <a:gd name="T46" fmla="*/ 889526540 w 266"/>
                <a:gd name="T47" fmla="*/ 683879894 h 392"/>
                <a:gd name="T48" fmla="*/ 599914229 w 266"/>
                <a:gd name="T49" fmla="*/ 884210561 h 392"/>
                <a:gd name="T50" fmla="*/ 475793987 w 266"/>
                <a:gd name="T51" fmla="*/ 1132893622 h 392"/>
                <a:gd name="T52" fmla="*/ 703347490 w 266"/>
                <a:gd name="T53" fmla="*/ 1298683205 h 392"/>
                <a:gd name="T54" fmla="*/ 930900830 w 266"/>
                <a:gd name="T55" fmla="*/ 1298683205 h 392"/>
                <a:gd name="T56" fmla="*/ 992959638 w 266"/>
                <a:gd name="T57" fmla="*/ 1505918541 h 392"/>
                <a:gd name="T58" fmla="*/ 1282574411 w 266"/>
                <a:gd name="T59" fmla="*/ 1775328256 h 392"/>
                <a:gd name="T60" fmla="*/ 951587974 w 266"/>
                <a:gd name="T61" fmla="*/ 2024011316 h 392"/>
                <a:gd name="T62" fmla="*/ 641285892 w 266"/>
                <a:gd name="T63" fmla="*/ 2147483647 h 39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66"/>
                <a:gd name="T97" fmla="*/ 0 h 392"/>
                <a:gd name="T98" fmla="*/ 266 w 266"/>
                <a:gd name="T99" fmla="*/ 392 h 39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66" h="392">
                  <a:moveTo>
                    <a:pt x="96" y="392"/>
                  </a:moveTo>
                  <a:cubicBezTo>
                    <a:pt x="93" y="389"/>
                    <a:pt x="90" y="386"/>
                    <a:pt x="90" y="383"/>
                  </a:cubicBezTo>
                  <a:cubicBezTo>
                    <a:pt x="78" y="383"/>
                    <a:pt x="66" y="383"/>
                    <a:pt x="54" y="386"/>
                  </a:cubicBezTo>
                  <a:cubicBezTo>
                    <a:pt x="42" y="383"/>
                    <a:pt x="30" y="380"/>
                    <a:pt x="21" y="377"/>
                  </a:cubicBezTo>
                  <a:cubicBezTo>
                    <a:pt x="12" y="371"/>
                    <a:pt x="6" y="362"/>
                    <a:pt x="6" y="362"/>
                  </a:cubicBezTo>
                  <a:cubicBezTo>
                    <a:pt x="12" y="353"/>
                    <a:pt x="18" y="347"/>
                    <a:pt x="24" y="341"/>
                  </a:cubicBezTo>
                  <a:cubicBezTo>
                    <a:pt x="27" y="335"/>
                    <a:pt x="27" y="329"/>
                    <a:pt x="30" y="323"/>
                  </a:cubicBezTo>
                  <a:cubicBezTo>
                    <a:pt x="36" y="290"/>
                    <a:pt x="18" y="278"/>
                    <a:pt x="3" y="263"/>
                  </a:cubicBezTo>
                  <a:cubicBezTo>
                    <a:pt x="3" y="242"/>
                    <a:pt x="15" y="236"/>
                    <a:pt x="30" y="227"/>
                  </a:cubicBezTo>
                  <a:cubicBezTo>
                    <a:pt x="33" y="221"/>
                    <a:pt x="36" y="218"/>
                    <a:pt x="39" y="215"/>
                  </a:cubicBezTo>
                  <a:cubicBezTo>
                    <a:pt x="39" y="209"/>
                    <a:pt x="39" y="203"/>
                    <a:pt x="39" y="200"/>
                  </a:cubicBezTo>
                  <a:cubicBezTo>
                    <a:pt x="30" y="185"/>
                    <a:pt x="21" y="176"/>
                    <a:pt x="12" y="167"/>
                  </a:cubicBezTo>
                  <a:cubicBezTo>
                    <a:pt x="9" y="167"/>
                    <a:pt x="9" y="167"/>
                    <a:pt x="9" y="167"/>
                  </a:cubicBezTo>
                  <a:cubicBezTo>
                    <a:pt x="9" y="167"/>
                    <a:pt x="9" y="167"/>
                    <a:pt x="9" y="167"/>
                  </a:cubicBezTo>
                  <a:cubicBezTo>
                    <a:pt x="12" y="164"/>
                    <a:pt x="15" y="161"/>
                    <a:pt x="18" y="158"/>
                  </a:cubicBezTo>
                  <a:cubicBezTo>
                    <a:pt x="21" y="155"/>
                    <a:pt x="24" y="149"/>
                    <a:pt x="24" y="146"/>
                  </a:cubicBezTo>
                  <a:cubicBezTo>
                    <a:pt x="18" y="143"/>
                    <a:pt x="15" y="140"/>
                    <a:pt x="12" y="137"/>
                  </a:cubicBezTo>
                  <a:cubicBezTo>
                    <a:pt x="12" y="131"/>
                    <a:pt x="12" y="128"/>
                    <a:pt x="12" y="126"/>
                  </a:cubicBezTo>
                  <a:cubicBezTo>
                    <a:pt x="6" y="120"/>
                    <a:pt x="3" y="117"/>
                    <a:pt x="0" y="114"/>
                  </a:cubicBezTo>
                  <a:cubicBezTo>
                    <a:pt x="0" y="105"/>
                    <a:pt x="0" y="99"/>
                    <a:pt x="0" y="90"/>
                  </a:cubicBezTo>
                  <a:cubicBezTo>
                    <a:pt x="3" y="87"/>
                    <a:pt x="3" y="84"/>
                    <a:pt x="6" y="81"/>
                  </a:cubicBezTo>
                  <a:cubicBezTo>
                    <a:pt x="6" y="81"/>
                    <a:pt x="15" y="81"/>
                    <a:pt x="15" y="78"/>
                  </a:cubicBezTo>
                  <a:cubicBezTo>
                    <a:pt x="15" y="69"/>
                    <a:pt x="15" y="63"/>
                    <a:pt x="15" y="54"/>
                  </a:cubicBezTo>
                  <a:cubicBezTo>
                    <a:pt x="21" y="51"/>
                    <a:pt x="21" y="48"/>
                    <a:pt x="27" y="48"/>
                  </a:cubicBezTo>
                  <a:cubicBezTo>
                    <a:pt x="30" y="51"/>
                    <a:pt x="39" y="54"/>
                    <a:pt x="39" y="63"/>
                  </a:cubicBezTo>
                  <a:cubicBezTo>
                    <a:pt x="27" y="72"/>
                    <a:pt x="36" y="81"/>
                    <a:pt x="48" y="90"/>
                  </a:cubicBezTo>
                  <a:cubicBezTo>
                    <a:pt x="51" y="90"/>
                    <a:pt x="51" y="90"/>
                    <a:pt x="54" y="90"/>
                  </a:cubicBezTo>
                  <a:cubicBezTo>
                    <a:pt x="57" y="90"/>
                    <a:pt x="57" y="87"/>
                    <a:pt x="60" y="87"/>
                  </a:cubicBezTo>
                  <a:cubicBezTo>
                    <a:pt x="60" y="75"/>
                    <a:pt x="72" y="75"/>
                    <a:pt x="81" y="69"/>
                  </a:cubicBezTo>
                  <a:cubicBezTo>
                    <a:pt x="90" y="54"/>
                    <a:pt x="111" y="63"/>
                    <a:pt x="126" y="54"/>
                  </a:cubicBezTo>
                  <a:cubicBezTo>
                    <a:pt x="123" y="45"/>
                    <a:pt x="123" y="36"/>
                    <a:pt x="123" y="27"/>
                  </a:cubicBezTo>
                  <a:cubicBezTo>
                    <a:pt x="129" y="21"/>
                    <a:pt x="132" y="18"/>
                    <a:pt x="144" y="12"/>
                  </a:cubicBezTo>
                  <a:cubicBezTo>
                    <a:pt x="156" y="0"/>
                    <a:pt x="159" y="12"/>
                    <a:pt x="165" y="27"/>
                  </a:cubicBezTo>
                  <a:cubicBezTo>
                    <a:pt x="171" y="39"/>
                    <a:pt x="177" y="48"/>
                    <a:pt x="183" y="60"/>
                  </a:cubicBezTo>
                  <a:cubicBezTo>
                    <a:pt x="186" y="69"/>
                    <a:pt x="183" y="72"/>
                    <a:pt x="198" y="78"/>
                  </a:cubicBezTo>
                  <a:cubicBezTo>
                    <a:pt x="204" y="78"/>
                    <a:pt x="216" y="78"/>
                    <a:pt x="228" y="78"/>
                  </a:cubicBezTo>
                  <a:cubicBezTo>
                    <a:pt x="225" y="84"/>
                    <a:pt x="216" y="84"/>
                    <a:pt x="213" y="93"/>
                  </a:cubicBezTo>
                  <a:cubicBezTo>
                    <a:pt x="213" y="99"/>
                    <a:pt x="210" y="105"/>
                    <a:pt x="225" y="114"/>
                  </a:cubicBezTo>
                  <a:cubicBezTo>
                    <a:pt x="234" y="114"/>
                    <a:pt x="245" y="126"/>
                    <a:pt x="257" y="134"/>
                  </a:cubicBezTo>
                  <a:cubicBezTo>
                    <a:pt x="260" y="134"/>
                    <a:pt x="263" y="137"/>
                    <a:pt x="266" y="140"/>
                  </a:cubicBezTo>
                  <a:cubicBezTo>
                    <a:pt x="257" y="149"/>
                    <a:pt x="251" y="161"/>
                    <a:pt x="242" y="173"/>
                  </a:cubicBezTo>
                  <a:cubicBezTo>
                    <a:pt x="242" y="182"/>
                    <a:pt x="225" y="194"/>
                    <a:pt x="216" y="197"/>
                  </a:cubicBezTo>
                  <a:cubicBezTo>
                    <a:pt x="210" y="197"/>
                    <a:pt x="204" y="197"/>
                    <a:pt x="198" y="200"/>
                  </a:cubicBezTo>
                  <a:cubicBezTo>
                    <a:pt x="186" y="191"/>
                    <a:pt x="180" y="182"/>
                    <a:pt x="174" y="176"/>
                  </a:cubicBezTo>
                  <a:cubicBezTo>
                    <a:pt x="171" y="167"/>
                    <a:pt x="174" y="155"/>
                    <a:pt x="171" y="149"/>
                  </a:cubicBezTo>
                  <a:cubicBezTo>
                    <a:pt x="165" y="146"/>
                    <a:pt x="159" y="146"/>
                    <a:pt x="153" y="143"/>
                  </a:cubicBezTo>
                  <a:cubicBezTo>
                    <a:pt x="153" y="131"/>
                    <a:pt x="156" y="117"/>
                    <a:pt x="156" y="108"/>
                  </a:cubicBezTo>
                  <a:cubicBezTo>
                    <a:pt x="144" y="108"/>
                    <a:pt x="132" y="108"/>
                    <a:pt x="129" y="99"/>
                  </a:cubicBezTo>
                  <a:cubicBezTo>
                    <a:pt x="111" y="99"/>
                    <a:pt x="111" y="99"/>
                    <a:pt x="108" y="114"/>
                  </a:cubicBezTo>
                  <a:cubicBezTo>
                    <a:pt x="99" y="120"/>
                    <a:pt x="93" y="126"/>
                    <a:pt x="87" y="128"/>
                  </a:cubicBezTo>
                  <a:cubicBezTo>
                    <a:pt x="87" y="134"/>
                    <a:pt x="87" y="137"/>
                    <a:pt x="90" y="146"/>
                  </a:cubicBezTo>
                  <a:cubicBezTo>
                    <a:pt x="90" y="161"/>
                    <a:pt x="75" y="158"/>
                    <a:pt x="69" y="164"/>
                  </a:cubicBezTo>
                  <a:cubicBezTo>
                    <a:pt x="69" y="170"/>
                    <a:pt x="66" y="182"/>
                    <a:pt x="69" y="188"/>
                  </a:cubicBezTo>
                  <a:cubicBezTo>
                    <a:pt x="81" y="188"/>
                    <a:pt x="90" y="188"/>
                    <a:pt x="102" y="188"/>
                  </a:cubicBezTo>
                  <a:cubicBezTo>
                    <a:pt x="108" y="182"/>
                    <a:pt x="111" y="176"/>
                    <a:pt x="126" y="179"/>
                  </a:cubicBezTo>
                  <a:cubicBezTo>
                    <a:pt x="129" y="182"/>
                    <a:pt x="132" y="182"/>
                    <a:pt x="135" y="188"/>
                  </a:cubicBezTo>
                  <a:cubicBezTo>
                    <a:pt x="138" y="191"/>
                    <a:pt x="138" y="194"/>
                    <a:pt x="141" y="197"/>
                  </a:cubicBezTo>
                  <a:cubicBezTo>
                    <a:pt x="141" y="203"/>
                    <a:pt x="144" y="212"/>
                    <a:pt x="144" y="218"/>
                  </a:cubicBezTo>
                  <a:cubicBezTo>
                    <a:pt x="150" y="227"/>
                    <a:pt x="159" y="236"/>
                    <a:pt x="174" y="242"/>
                  </a:cubicBezTo>
                  <a:cubicBezTo>
                    <a:pt x="180" y="248"/>
                    <a:pt x="183" y="251"/>
                    <a:pt x="186" y="257"/>
                  </a:cubicBezTo>
                  <a:cubicBezTo>
                    <a:pt x="177" y="257"/>
                    <a:pt x="174" y="266"/>
                    <a:pt x="168" y="269"/>
                  </a:cubicBezTo>
                  <a:cubicBezTo>
                    <a:pt x="165" y="281"/>
                    <a:pt x="147" y="290"/>
                    <a:pt x="138" y="293"/>
                  </a:cubicBezTo>
                  <a:cubicBezTo>
                    <a:pt x="129" y="299"/>
                    <a:pt x="123" y="308"/>
                    <a:pt x="117" y="317"/>
                  </a:cubicBezTo>
                  <a:cubicBezTo>
                    <a:pt x="93" y="341"/>
                    <a:pt x="78" y="347"/>
                    <a:pt x="93" y="386"/>
                  </a:cubicBezTo>
                  <a:cubicBezTo>
                    <a:pt x="93" y="386"/>
                    <a:pt x="96" y="389"/>
                    <a:pt x="96" y="392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2" name="Freeform 16"/>
            <p:cNvSpPr>
              <a:spLocks/>
            </p:cNvSpPr>
            <p:nvPr/>
          </p:nvSpPr>
          <p:spPr bwMode="auto">
            <a:xfrm>
              <a:off x="7084516" y="3136074"/>
              <a:ext cx="406647" cy="740116"/>
            </a:xfrm>
            <a:custGeom>
              <a:avLst/>
              <a:gdLst>
                <a:gd name="T0" fmla="*/ 124824953 w 170"/>
                <a:gd name="T1" fmla="*/ 2147483647 h 342"/>
                <a:gd name="T2" fmla="*/ 41607437 w 170"/>
                <a:gd name="T3" fmla="*/ 2147483647 h 342"/>
                <a:gd name="T4" fmla="*/ 83217506 w 170"/>
                <a:gd name="T5" fmla="*/ 2050050394 h 342"/>
                <a:gd name="T6" fmla="*/ 62411160 w 170"/>
                <a:gd name="T7" fmla="*/ 1925804398 h 342"/>
                <a:gd name="T8" fmla="*/ 0 w 170"/>
                <a:gd name="T9" fmla="*/ 1780852926 h 342"/>
                <a:gd name="T10" fmla="*/ 0 w 170"/>
                <a:gd name="T11" fmla="*/ 1532360934 h 342"/>
                <a:gd name="T12" fmla="*/ 104021240 w 170"/>
                <a:gd name="T13" fmla="*/ 1325284821 h 342"/>
                <a:gd name="T14" fmla="*/ 124824953 w 170"/>
                <a:gd name="T15" fmla="*/ 1242455033 h 342"/>
                <a:gd name="T16" fmla="*/ 166432379 w 170"/>
                <a:gd name="T17" fmla="*/ 869717045 h 342"/>
                <a:gd name="T18" fmla="*/ 187236134 w 170"/>
                <a:gd name="T19" fmla="*/ 662643724 h 342"/>
                <a:gd name="T20" fmla="*/ 228846193 w 170"/>
                <a:gd name="T21" fmla="*/ 579811309 h 342"/>
                <a:gd name="T22" fmla="*/ 395278614 w 170"/>
                <a:gd name="T23" fmla="*/ 393443629 h 342"/>
                <a:gd name="T24" fmla="*/ 540907239 w 170"/>
                <a:gd name="T25" fmla="*/ 207075866 h 342"/>
                <a:gd name="T26" fmla="*/ 603318379 w 170"/>
                <a:gd name="T27" fmla="*/ 144954141 h 342"/>
                <a:gd name="T28" fmla="*/ 825228328 w 170"/>
                <a:gd name="T29" fmla="*/ 124246037 h 342"/>
                <a:gd name="T30" fmla="*/ 970859586 w 170"/>
                <a:gd name="T31" fmla="*/ 41416218 h 342"/>
                <a:gd name="T32" fmla="*/ 1012467012 w 170"/>
                <a:gd name="T33" fmla="*/ 0 h 342"/>
                <a:gd name="T34" fmla="*/ 1074878152 w 170"/>
                <a:gd name="T35" fmla="*/ 41416218 h 342"/>
                <a:gd name="T36" fmla="*/ 970859586 w 170"/>
                <a:gd name="T37" fmla="*/ 207075866 h 342"/>
                <a:gd name="T38" fmla="*/ 1178899351 w 170"/>
                <a:gd name="T39" fmla="*/ 434859836 h 342"/>
                <a:gd name="T40" fmla="*/ 1178899351 w 170"/>
                <a:gd name="T41" fmla="*/ 496981521 h 342"/>
                <a:gd name="T42" fmla="*/ 1012467012 w 170"/>
                <a:gd name="T43" fmla="*/ 641935620 h 342"/>
                <a:gd name="T44" fmla="*/ 950053240 w 170"/>
                <a:gd name="T45" fmla="*/ 890425149 h 342"/>
                <a:gd name="T46" fmla="*/ 1033270726 w 170"/>
                <a:gd name="T47" fmla="*/ 952549461 h 342"/>
                <a:gd name="T48" fmla="*/ 1137291925 w 170"/>
                <a:gd name="T49" fmla="*/ 1201038825 h 342"/>
                <a:gd name="T50" fmla="*/ 1095681865 w 170"/>
                <a:gd name="T51" fmla="*/ 1325284821 h 342"/>
                <a:gd name="T52" fmla="*/ 950053240 w 170"/>
                <a:gd name="T53" fmla="*/ 1511652830 h 342"/>
                <a:gd name="T54" fmla="*/ 950053240 w 170"/>
                <a:gd name="T55" fmla="*/ 1553069038 h 342"/>
                <a:gd name="T56" fmla="*/ 1033270726 w 170"/>
                <a:gd name="T57" fmla="*/ 1635898826 h 342"/>
                <a:gd name="T58" fmla="*/ 1033270726 w 170"/>
                <a:gd name="T59" fmla="*/ 1884390818 h 342"/>
                <a:gd name="T60" fmla="*/ 825228328 w 170"/>
                <a:gd name="T61" fmla="*/ 2091466602 h 342"/>
                <a:gd name="T62" fmla="*/ 582514665 w 170"/>
                <a:gd name="T63" fmla="*/ 2132880182 h 342"/>
                <a:gd name="T64" fmla="*/ 332864759 w 170"/>
                <a:gd name="T65" fmla="*/ 2147483647 h 342"/>
                <a:gd name="T66" fmla="*/ 228846193 w 170"/>
                <a:gd name="T67" fmla="*/ 2147483647 h 342"/>
                <a:gd name="T68" fmla="*/ 124824953 w 170"/>
                <a:gd name="T69" fmla="*/ 2147483647 h 34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0"/>
                <a:gd name="T106" fmla="*/ 0 h 342"/>
                <a:gd name="T107" fmla="*/ 170 w 170"/>
                <a:gd name="T108" fmla="*/ 342 h 34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0" h="342">
                  <a:moveTo>
                    <a:pt x="18" y="342"/>
                  </a:moveTo>
                  <a:cubicBezTo>
                    <a:pt x="3" y="333"/>
                    <a:pt x="6" y="321"/>
                    <a:pt x="6" y="312"/>
                  </a:cubicBezTo>
                  <a:cubicBezTo>
                    <a:pt x="9" y="306"/>
                    <a:pt x="9" y="303"/>
                    <a:pt x="12" y="297"/>
                  </a:cubicBezTo>
                  <a:cubicBezTo>
                    <a:pt x="9" y="291"/>
                    <a:pt x="9" y="285"/>
                    <a:pt x="9" y="279"/>
                  </a:cubicBezTo>
                  <a:cubicBezTo>
                    <a:pt x="6" y="273"/>
                    <a:pt x="3" y="264"/>
                    <a:pt x="0" y="258"/>
                  </a:cubicBezTo>
                  <a:cubicBezTo>
                    <a:pt x="0" y="246"/>
                    <a:pt x="0" y="234"/>
                    <a:pt x="0" y="222"/>
                  </a:cubicBezTo>
                  <a:cubicBezTo>
                    <a:pt x="9" y="210"/>
                    <a:pt x="12" y="201"/>
                    <a:pt x="15" y="192"/>
                  </a:cubicBezTo>
                  <a:cubicBezTo>
                    <a:pt x="15" y="189"/>
                    <a:pt x="15" y="183"/>
                    <a:pt x="18" y="180"/>
                  </a:cubicBezTo>
                  <a:cubicBezTo>
                    <a:pt x="12" y="156"/>
                    <a:pt x="3" y="138"/>
                    <a:pt x="24" y="126"/>
                  </a:cubicBezTo>
                  <a:cubicBezTo>
                    <a:pt x="27" y="111"/>
                    <a:pt x="27" y="105"/>
                    <a:pt x="27" y="96"/>
                  </a:cubicBezTo>
                  <a:cubicBezTo>
                    <a:pt x="30" y="93"/>
                    <a:pt x="30" y="90"/>
                    <a:pt x="33" y="84"/>
                  </a:cubicBezTo>
                  <a:cubicBezTo>
                    <a:pt x="36" y="69"/>
                    <a:pt x="45" y="63"/>
                    <a:pt x="57" y="57"/>
                  </a:cubicBezTo>
                  <a:cubicBezTo>
                    <a:pt x="63" y="48"/>
                    <a:pt x="69" y="33"/>
                    <a:pt x="78" y="30"/>
                  </a:cubicBezTo>
                  <a:cubicBezTo>
                    <a:pt x="81" y="27"/>
                    <a:pt x="84" y="24"/>
                    <a:pt x="87" y="21"/>
                  </a:cubicBezTo>
                  <a:cubicBezTo>
                    <a:pt x="92" y="21"/>
                    <a:pt x="113" y="24"/>
                    <a:pt x="119" y="18"/>
                  </a:cubicBezTo>
                  <a:cubicBezTo>
                    <a:pt x="125" y="15"/>
                    <a:pt x="134" y="12"/>
                    <a:pt x="140" y="6"/>
                  </a:cubicBezTo>
                  <a:cubicBezTo>
                    <a:pt x="143" y="3"/>
                    <a:pt x="143" y="3"/>
                    <a:pt x="146" y="0"/>
                  </a:cubicBezTo>
                  <a:cubicBezTo>
                    <a:pt x="149" y="3"/>
                    <a:pt x="152" y="6"/>
                    <a:pt x="155" y="6"/>
                  </a:cubicBezTo>
                  <a:cubicBezTo>
                    <a:pt x="155" y="15"/>
                    <a:pt x="134" y="18"/>
                    <a:pt x="140" y="30"/>
                  </a:cubicBezTo>
                  <a:cubicBezTo>
                    <a:pt x="152" y="33"/>
                    <a:pt x="158" y="45"/>
                    <a:pt x="170" y="63"/>
                  </a:cubicBezTo>
                  <a:cubicBezTo>
                    <a:pt x="170" y="66"/>
                    <a:pt x="170" y="69"/>
                    <a:pt x="170" y="72"/>
                  </a:cubicBezTo>
                  <a:cubicBezTo>
                    <a:pt x="161" y="87"/>
                    <a:pt x="158" y="84"/>
                    <a:pt x="146" y="93"/>
                  </a:cubicBezTo>
                  <a:cubicBezTo>
                    <a:pt x="140" y="102"/>
                    <a:pt x="128" y="117"/>
                    <a:pt x="137" y="129"/>
                  </a:cubicBezTo>
                  <a:cubicBezTo>
                    <a:pt x="140" y="132"/>
                    <a:pt x="146" y="135"/>
                    <a:pt x="149" y="138"/>
                  </a:cubicBezTo>
                  <a:cubicBezTo>
                    <a:pt x="155" y="147"/>
                    <a:pt x="164" y="153"/>
                    <a:pt x="164" y="174"/>
                  </a:cubicBezTo>
                  <a:cubicBezTo>
                    <a:pt x="161" y="180"/>
                    <a:pt x="161" y="186"/>
                    <a:pt x="158" y="192"/>
                  </a:cubicBezTo>
                  <a:cubicBezTo>
                    <a:pt x="155" y="201"/>
                    <a:pt x="143" y="213"/>
                    <a:pt x="137" y="219"/>
                  </a:cubicBezTo>
                  <a:cubicBezTo>
                    <a:pt x="137" y="222"/>
                    <a:pt x="137" y="222"/>
                    <a:pt x="137" y="225"/>
                  </a:cubicBezTo>
                  <a:cubicBezTo>
                    <a:pt x="140" y="228"/>
                    <a:pt x="146" y="234"/>
                    <a:pt x="149" y="237"/>
                  </a:cubicBezTo>
                  <a:cubicBezTo>
                    <a:pt x="152" y="246"/>
                    <a:pt x="152" y="261"/>
                    <a:pt x="149" y="273"/>
                  </a:cubicBezTo>
                  <a:cubicBezTo>
                    <a:pt x="140" y="282"/>
                    <a:pt x="131" y="294"/>
                    <a:pt x="119" y="303"/>
                  </a:cubicBezTo>
                  <a:cubicBezTo>
                    <a:pt x="107" y="303"/>
                    <a:pt x="95" y="306"/>
                    <a:pt x="84" y="309"/>
                  </a:cubicBezTo>
                  <a:cubicBezTo>
                    <a:pt x="69" y="321"/>
                    <a:pt x="60" y="321"/>
                    <a:pt x="48" y="324"/>
                  </a:cubicBezTo>
                  <a:cubicBezTo>
                    <a:pt x="42" y="327"/>
                    <a:pt x="39" y="330"/>
                    <a:pt x="33" y="333"/>
                  </a:cubicBezTo>
                  <a:cubicBezTo>
                    <a:pt x="27" y="339"/>
                    <a:pt x="21" y="342"/>
                    <a:pt x="18" y="342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7619501" y="3402832"/>
              <a:ext cx="755612" cy="460284"/>
            </a:xfrm>
            <a:custGeom>
              <a:avLst/>
              <a:gdLst>
                <a:gd name="T0" fmla="*/ 227239372 w 317"/>
                <a:gd name="T1" fmla="*/ 1465997607 h 213"/>
                <a:gd name="T2" fmla="*/ 144608055 w 317"/>
                <a:gd name="T3" fmla="*/ 1404054776 h 213"/>
                <a:gd name="T4" fmla="*/ 0 w 317"/>
                <a:gd name="T5" fmla="*/ 1280166162 h 213"/>
                <a:gd name="T6" fmla="*/ 20657168 w 317"/>
                <a:gd name="T7" fmla="*/ 1197576595 h 213"/>
                <a:gd name="T8" fmla="*/ 123948267 w 317"/>
                <a:gd name="T9" fmla="*/ 1094335045 h 213"/>
                <a:gd name="T10" fmla="*/ 123948267 w 317"/>
                <a:gd name="T11" fmla="*/ 991096119 h 213"/>
                <a:gd name="T12" fmla="*/ 41316960 w 317"/>
                <a:gd name="T13" fmla="*/ 702026076 h 213"/>
                <a:gd name="T14" fmla="*/ 61974134 w 317"/>
                <a:gd name="T15" fmla="*/ 578140250 h 213"/>
                <a:gd name="T16" fmla="*/ 227239372 w 317"/>
                <a:gd name="T17" fmla="*/ 392309133 h 213"/>
                <a:gd name="T18" fmla="*/ 516455481 w 317"/>
                <a:gd name="T19" fmla="*/ 165181798 h 213"/>
                <a:gd name="T20" fmla="*/ 681720657 w 317"/>
                <a:gd name="T21" fmla="*/ 0 h 213"/>
                <a:gd name="T22" fmla="*/ 723037772 w 317"/>
                <a:gd name="T23" fmla="*/ 123888327 h 213"/>
                <a:gd name="T24" fmla="*/ 805669048 w 317"/>
                <a:gd name="T25" fmla="*/ 123888327 h 213"/>
                <a:gd name="T26" fmla="*/ 846985998 w 317"/>
                <a:gd name="T27" fmla="*/ 41296105 h 213"/>
                <a:gd name="T28" fmla="*/ 1012251175 w 317"/>
                <a:gd name="T29" fmla="*/ 20646741 h 213"/>
                <a:gd name="T30" fmla="*/ 1046682404 w 317"/>
                <a:gd name="T31" fmla="*/ 103238967 h 213"/>
                <a:gd name="T32" fmla="*/ 1046682404 w 317"/>
                <a:gd name="T33" fmla="*/ 268423389 h 213"/>
                <a:gd name="T34" fmla="*/ 1315238644 w 317"/>
                <a:gd name="T35" fmla="*/ 371662397 h 213"/>
                <a:gd name="T36" fmla="*/ 1439189822 w 317"/>
                <a:gd name="T37" fmla="*/ 144535062 h 213"/>
                <a:gd name="T38" fmla="*/ 1501163936 w 317"/>
                <a:gd name="T39" fmla="*/ 82592211 h 213"/>
                <a:gd name="T40" fmla="*/ 1687086275 w 317"/>
                <a:gd name="T41" fmla="*/ 41296105 h 213"/>
                <a:gd name="T42" fmla="*/ 1831694289 w 317"/>
                <a:gd name="T43" fmla="*/ 103238967 h 213"/>
                <a:gd name="T44" fmla="*/ 2147483647 w 317"/>
                <a:gd name="T45" fmla="*/ 103238967 h 213"/>
                <a:gd name="T46" fmla="*/ 2147483647 w 317"/>
                <a:gd name="T47" fmla="*/ 123888327 h 213"/>
                <a:gd name="T48" fmla="*/ 2147483647 w 317"/>
                <a:gd name="T49" fmla="*/ 144535062 h 213"/>
                <a:gd name="T50" fmla="*/ 2147483647 w 317"/>
                <a:gd name="T51" fmla="*/ 247774030 h 213"/>
                <a:gd name="T52" fmla="*/ 2038276415 w 317"/>
                <a:gd name="T53" fmla="*/ 268423389 h 213"/>
                <a:gd name="T54" fmla="*/ 1707746062 w 317"/>
                <a:gd name="T55" fmla="*/ 536844155 h 213"/>
                <a:gd name="T56" fmla="*/ 1645771949 w 317"/>
                <a:gd name="T57" fmla="*/ 578140250 h 213"/>
                <a:gd name="T58" fmla="*/ 1521821099 w 317"/>
                <a:gd name="T59" fmla="*/ 640083081 h 213"/>
                <a:gd name="T60" fmla="*/ 1501163936 w 317"/>
                <a:gd name="T61" fmla="*/ 660732440 h 213"/>
                <a:gd name="T62" fmla="*/ 1501163936 w 317"/>
                <a:gd name="T63" fmla="*/ 784618266 h 213"/>
                <a:gd name="T64" fmla="*/ 1377213085 w 317"/>
                <a:gd name="T65" fmla="*/ 949800024 h 213"/>
                <a:gd name="T66" fmla="*/ 1335898431 w 317"/>
                <a:gd name="T67" fmla="*/ 1094335045 h 213"/>
                <a:gd name="T68" fmla="*/ 1170633254 w 317"/>
                <a:gd name="T69" fmla="*/ 1197576595 h 213"/>
                <a:gd name="T70" fmla="*/ 1067342191 w 317"/>
                <a:gd name="T71" fmla="*/ 1383405416 h 213"/>
                <a:gd name="T72" fmla="*/ 1067342191 w 317"/>
                <a:gd name="T73" fmla="*/ 1362758352 h 213"/>
                <a:gd name="T74" fmla="*/ 1032910962 w 317"/>
                <a:gd name="T75" fmla="*/ 1342108993 h 213"/>
                <a:gd name="T76" fmla="*/ 991594012 w 317"/>
                <a:gd name="T77" fmla="*/ 1342108993 h 213"/>
                <a:gd name="T78" fmla="*/ 888302948 w 317"/>
                <a:gd name="T79" fmla="*/ 1424701511 h 213"/>
                <a:gd name="T80" fmla="*/ 723037772 w 317"/>
                <a:gd name="T81" fmla="*/ 1424701511 h 213"/>
                <a:gd name="T82" fmla="*/ 723037772 w 317"/>
                <a:gd name="T83" fmla="*/ 1383405416 h 213"/>
                <a:gd name="T84" fmla="*/ 578429594 w 317"/>
                <a:gd name="T85" fmla="*/ 1238870067 h 213"/>
                <a:gd name="T86" fmla="*/ 495798318 w 317"/>
                <a:gd name="T87" fmla="*/ 1238870067 h 213"/>
                <a:gd name="T88" fmla="*/ 454481368 w 317"/>
                <a:gd name="T89" fmla="*/ 1383405416 h 213"/>
                <a:gd name="T90" fmla="*/ 371847467 w 317"/>
                <a:gd name="T91" fmla="*/ 1424701511 h 213"/>
                <a:gd name="T92" fmla="*/ 227239372 w 317"/>
                <a:gd name="T93" fmla="*/ 1465997607 h 21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17"/>
                <a:gd name="T142" fmla="*/ 0 h 213"/>
                <a:gd name="T143" fmla="*/ 317 w 317"/>
                <a:gd name="T144" fmla="*/ 213 h 21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17" h="213">
                  <a:moveTo>
                    <a:pt x="33" y="213"/>
                  </a:moveTo>
                  <a:cubicBezTo>
                    <a:pt x="30" y="210"/>
                    <a:pt x="24" y="207"/>
                    <a:pt x="21" y="204"/>
                  </a:cubicBezTo>
                  <a:cubicBezTo>
                    <a:pt x="12" y="198"/>
                    <a:pt x="6" y="192"/>
                    <a:pt x="0" y="186"/>
                  </a:cubicBezTo>
                  <a:cubicBezTo>
                    <a:pt x="0" y="180"/>
                    <a:pt x="3" y="177"/>
                    <a:pt x="3" y="174"/>
                  </a:cubicBezTo>
                  <a:cubicBezTo>
                    <a:pt x="9" y="171"/>
                    <a:pt x="15" y="165"/>
                    <a:pt x="18" y="159"/>
                  </a:cubicBezTo>
                  <a:cubicBezTo>
                    <a:pt x="18" y="153"/>
                    <a:pt x="18" y="147"/>
                    <a:pt x="18" y="144"/>
                  </a:cubicBezTo>
                  <a:cubicBezTo>
                    <a:pt x="18" y="135"/>
                    <a:pt x="9" y="105"/>
                    <a:pt x="6" y="102"/>
                  </a:cubicBezTo>
                  <a:cubicBezTo>
                    <a:pt x="6" y="93"/>
                    <a:pt x="3" y="90"/>
                    <a:pt x="9" y="84"/>
                  </a:cubicBezTo>
                  <a:cubicBezTo>
                    <a:pt x="15" y="72"/>
                    <a:pt x="24" y="66"/>
                    <a:pt x="33" y="57"/>
                  </a:cubicBezTo>
                  <a:cubicBezTo>
                    <a:pt x="42" y="39"/>
                    <a:pt x="57" y="36"/>
                    <a:pt x="75" y="24"/>
                  </a:cubicBezTo>
                  <a:cubicBezTo>
                    <a:pt x="84" y="15"/>
                    <a:pt x="90" y="6"/>
                    <a:pt x="99" y="0"/>
                  </a:cubicBezTo>
                  <a:cubicBezTo>
                    <a:pt x="102" y="6"/>
                    <a:pt x="102" y="12"/>
                    <a:pt x="105" y="18"/>
                  </a:cubicBezTo>
                  <a:cubicBezTo>
                    <a:pt x="108" y="18"/>
                    <a:pt x="114" y="18"/>
                    <a:pt x="117" y="18"/>
                  </a:cubicBezTo>
                  <a:cubicBezTo>
                    <a:pt x="120" y="15"/>
                    <a:pt x="120" y="9"/>
                    <a:pt x="123" y="6"/>
                  </a:cubicBezTo>
                  <a:cubicBezTo>
                    <a:pt x="129" y="6"/>
                    <a:pt x="138" y="9"/>
                    <a:pt x="147" y="3"/>
                  </a:cubicBezTo>
                  <a:cubicBezTo>
                    <a:pt x="147" y="6"/>
                    <a:pt x="150" y="12"/>
                    <a:pt x="152" y="15"/>
                  </a:cubicBezTo>
                  <a:cubicBezTo>
                    <a:pt x="152" y="24"/>
                    <a:pt x="152" y="30"/>
                    <a:pt x="152" y="39"/>
                  </a:cubicBezTo>
                  <a:cubicBezTo>
                    <a:pt x="158" y="45"/>
                    <a:pt x="173" y="54"/>
                    <a:pt x="191" y="54"/>
                  </a:cubicBezTo>
                  <a:cubicBezTo>
                    <a:pt x="197" y="42"/>
                    <a:pt x="203" y="33"/>
                    <a:pt x="209" y="21"/>
                  </a:cubicBezTo>
                  <a:cubicBezTo>
                    <a:pt x="212" y="18"/>
                    <a:pt x="215" y="15"/>
                    <a:pt x="218" y="12"/>
                  </a:cubicBezTo>
                  <a:cubicBezTo>
                    <a:pt x="224" y="9"/>
                    <a:pt x="233" y="6"/>
                    <a:pt x="245" y="6"/>
                  </a:cubicBezTo>
                  <a:cubicBezTo>
                    <a:pt x="251" y="9"/>
                    <a:pt x="260" y="12"/>
                    <a:pt x="266" y="15"/>
                  </a:cubicBezTo>
                  <a:cubicBezTo>
                    <a:pt x="281" y="15"/>
                    <a:pt x="299" y="15"/>
                    <a:pt x="314" y="15"/>
                  </a:cubicBezTo>
                  <a:cubicBezTo>
                    <a:pt x="314" y="15"/>
                    <a:pt x="317" y="15"/>
                    <a:pt x="317" y="18"/>
                  </a:cubicBezTo>
                  <a:cubicBezTo>
                    <a:pt x="317" y="18"/>
                    <a:pt x="317" y="18"/>
                    <a:pt x="317" y="21"/>
                  </a:cubicBezTo>
                  <a:cubicBezTo>
                    <a:pt x="314" y="27"/>
                    <a:pt x="314" y="30"/>
                    <a:pt x="314" y="36"/>
                  </a:cubicBezTo>
                  <a:cubicBezTo>
                    <a:pt x="308" y="36"/>
                    <a:pt x="302" y="39"/>
                    <a:pt x="296" y="39"/>
                  </a:cubicBezTo>
                  <a:cubicBezTo>
                    <a:pt x="281" y="48"/>
                    <a:pt x="254" y="60"/>
                    <a:pt x="248" y="78"/>
                  </a:cubicBezTo>
                  <a:cubicBezTo>
                    <a:pt x="245" y="81"/>
                    <a:pt x="242" y="81"/>
                    <a:pt x="239" y="84"/>
                  </a:cubicBezTo>
                  <a:cubicBezTo>
                    <a:pt x="233" y="90"/>
                    <a:pt x="227" y="90"/>
                    <a:pt x="221" y="93"/>
                  </a:cubicBezTo>
                  <a:cubicBezTo>
                    <a:pt x="218" y="96"/>
                    <a:pt x="218" y="96"/>
                    <a:pt x="218" y="96"/>
                  </a:cubicBezTo>
                  <a:cubicBezTo>
                    <a:pt x="218" y="102"/>
                    <a:pt x="218" y="108"/>
                    <a:pt x="218" y="114"/>
                  </a:cubicBezTo>
                  <a:cubicBezTo>
                    <a:pt x="212" y="120"/>
                    <a:pt x="203" y="129"/>
                    <a:pt x="200" y="138"/>
                  </a:cubicBezTo>
                  <a:cubicBezTo>
                    <a:pt x="197" y="144"/>
                    <a:pt x="200" y="153"/>
                    <a:pt x="194" y="159"/>
                  </a:cubicBezTo>
                  <a:cubicBezTo>
                    <a:pt x="179" y="159"/>
                    <a:pt x="176" y="168"/>
                    <a:pt x="170" y="174"/>
                  </a:cubicBezTo>
                  <a:cubicBezTo>
                    <a:pt x="167" y="183"/>
                    <a:pt x="164" y="195"/>
                    <a:pt x="155" y="201"/>
                  </a:cubicBezTo>
                  <a:cubicBezTo>
                    <a:pt x="155" y="198"/>
                    <a:pt x="155" y="198"/>
                    <a:pt x="155" y="198"/>
                  </a:cubicBezTo>
                  <a:cubicBezTo>
                    <a:pt x="152" y="198"/>
                    <a:pt x="152" y="195"/>
                    <a:pt x="150" y="195"/>
                  </a:cubicBezTo>
                  <a:cubicBezTo>
                    <a:pt x="147" y="195"/>
                    <a:pt x="144" y="195"/>
                    <a:pt x="144" y="195"/>
                  </a:cubicBezTo>
                  <a:cubicBezTo>
                    <a:pt x="138" y="198"/>
                    <a:pt x="135" y="204"/>
                    <a:pt x="129" y="207"/>
                  </a:cubicBezTo>
                  <a:cubicBezTo>
                    <a:pt x="123" y="210"/>
                    <a:pt x="111" y="207"/>
                    <a:pt x="105" y="207"/>
                  </a:cubicBezTo>
                  <a:cubicBezTo>
                    <a:pt x="105" y="204"/>
                    <a:pt x="105" y="201"/>
                    <a:pt x="105" y="201"/>
                  </a:cubicBezTo>
                  <a:cubicBezTo>
                    <a:pt x="96" y="192"/>
                    <a:pt x="90" y="186"/>
                    <a:pt x="84" y="180"/>
                  </a:cubicBezTo>
                  <a:cubicBezTo>
                    <a:pt x="78" y="180"/>
                    <a:pt x="75" y="180"/>
                    <a:pt x="72" y="180"/>
                  </a:cubicBezTo>
                  <a:cubicBezTo>
                    <a:pt x="69" y="186"/>
                    <a:pt x="69" y="192"/>
                    <a:pt x="66" y="201"/>
                  </a:cubicBezTo>
                  <a:cubicBezTo>
                    <a:pt x="60" y="201"/>
                    <a:pt x="54" y="204"/>
                    <a:pt x="54" y="207"/>
                  </a:cubicBezTo>
                  <a:cubicBezTo>
                    <a:pt x="45" y="207"/>
                    <a:pt x="39" y="213"/>
                    <a:pt x="33" y="213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7583450" y="3060232"/>
              <a:ext cx="279750" cy="283755"/>
            </a:xfrm>
            <a:custGeom>
              <a:avLst/>
              <a:gdLst>
                <a:gd name="T0" fmla="*/ 685952440 w 117"/>
                <a:gd name="T1" fmla="*/ 905892900 h 131"/>
                <a:gd name="T2" fmla="*/ 561233126 w 117"/>
                <a:gd name="T3" fmla="*/ 802165245 h 131"/>
                <a:gd name="T4" fmla="*/ 498874786 w 117"/>
                <a:gd name="T5" fmla="*/ 594707141 h 131"/>
                <a:gd name="T6" fmla="*/ 478087795 w 117"/>
                <a:gd name="T7" fmla="*/ 553216078 h 131"/>
                <a:gd name="T8" fmla="*/ 228651718 w 117"/>
                <a:gd name="T9" fmla="*/ 490979485 h 131"/>
                <a:gd name="T10" fmla="*/ 187077736 w 117"/>
                <a:gd name="T11" fmla="*/ 532470547 h 131"/>
                <a:gd name="T12" fmla="*/ 20786996 w 117"/>
                <a:gd name="T13" fmla="*/ 532470547 h 131"/>
                <a:gd name="T14" fmla="*/ 83145352 w 117"/>
                <a:gd name="T15" fmla="*/ 407997361 h 131"/>
                <a:gd name="T16" fmla="*/ 145506345 w 117"/>
                <a:gd name="T17" fmla="*/ 345760768 h 131"/>
                <a:gd name="T18" fmla="*/ 124719355 w 117"/>
                <a:gd name="T19" fmla="*/ 179796438 h 131"/>
                <a:gd name="T20" fmla="*/ 291010059 w 117"/>
                <a:gd name="T21" fmla="*/ 82982145 h 131"/>
                <a:gd name="T22" fmla="*/ 353371114 w 117"/>
                <a:gd name="T23" fmla="*/ 0 h 131"/>
                <a:gd name="T24" fmla="*/ 415729454 w 117"/>
                <a:gd name="T25" fmla="*/ 62236614 h 131"/>
                <a:gd name="T26" fmla="*/ 540448768 w 117"/>
                <a:gd name="T27" fmla="*/ 62236614 h 131"/>
                <a:gd name="T28" fmla="*/ 561233126 w 117"/>
                <a:gd name="T29" fmla="*/ 304269624 h 131"/>
                <a:gd name="T30" fmla="*/ 623594099 w 117"/>
                <a:gd name="T31" fmla="*/ 325015155 h 131"/>
                <a:gd name="T32" fmla="*/ 665165449 w 117"/>
                <a:gd name="T33" fmla="*/ 345760768 h 131"/>
                <a:gd name="T34" fmla="*/ 748313577 w 117"/>
                <a:gd name="T35" fmla="*/ 573961609 h 131"/>
                <a:gd name="T36" fmla="*/ 810671918 w 117"/>
                <a:gd name="T37" fmla="*/ 677691894 h 131"/>
                <a:gd name="T38" fmla="*/ 685952440 w 117"/>
                <a:gd name="T39" fmla="*/ 760674183 h 131"/>
                <a:gd name="T40" fmla="*/ 685952440 w 117"/>
                <a:gd name="T41" fmla="*/ 905892900 h 13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17"/>
                <a:gd name="T64" fmla="*/ 0 h 131"/>
                <a:gd name="T65" fmla="*/ 117 w 117"/>
                <a:gd name="T66" fmla="*/ 131 h 13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17" h="131">
                  <a:moveTo>
                    <a:pt x="99" y="131"/>
                  </a:moveTo>
                  <a:cubicBezTo>
                    <a:pt x="90" y="125"/>
                    <a:pt x="81" y="116"/>
                    <a:pt x="81" y="116"/>
                  </a:cubicBezTo>
                  <a:cubicBezTo>
                    <a:pt x="72" y="104"/>
                    <a:pt x="75" y="92"/>
                    <a:pt x="72" y="86"/>
                  </a:cubicBezTo>
                  <a:cubicBezTo>
                    <a:pt x="72" y="86"/>
                    <a:pt x="72" y="83"/>
                    <a:pt x="69" y="80"/>
                  </a:cubicBezTo>
                  <a:cubicBezTo>
                    <a:pt x="54" y="68"/>
                    <a:pt x="51" y="65"/>
                    <a:pt x="33" y="71"/>
                  </a:cubicBezTo>
                  <a:cubicBezTo>
                    <a:pt x="30" y="74"/>
                    <a:pt x="30" y="74"/>
                    <a:pt x="27" y="77"/>
                  </a:cubicBezTo>
                  <a:cubicBezTo>
                    <a:pt x="18" y="77"/>
                    <a:pt x="9" y="77"/>
                    <a:pt x="3" y="77"/>
                  </a:cubicBezTo>
                  <a:cubicBezTo>
                    <a:pt x="3" y="68"/>
                    <a:pt x="0" y="62"/>
                    <a:pt x="12" y="59"/>
                  </a:cubicBezTo>
                  <a:cubicBezTo>
                    <a:pt x="15" y="56"/>
                    <a:pt x="18" y="53"/>
                    <a:pt x="21" y="50"/>
                  </a:cubicBezTo>
                  <a:cubicBezTo>
                    <a:pt x="27" y="38"/>
                    <a:pt x="18" y="32"/>
                    <a:pt x="18" y="26"/>
                  </a:cubicBezTo>
                  <a:cubicBezTo>
                    <a:pt x="27" y="23"/>
                    <a:pt x="36" y="18"/>
                    <a:pt x="42" y="12"/>
                  </a:cubicBezTo>
                  <a:cubicBezTo>
                    <a:pt x="45" y="3"/>
                    <a:pt x="45" y="0"/>
                    <a:pt x="51" y="0"/>
                  </a:cubicBezTo>
                  <a:cubicBezTo>
                    <a:pt x="54" y="3"/>
                    <a:pt x="57" y="6"/>
                    <a:pt x="60" y="9"/>
                  </a:cubicBezTo>
                  <a:cubicBezTo>
                    <a:pt x="66" y="9"/>
                    <a:pt x="72" y="9"/>
                    <a:pt x="78" y="9"/>
                  </a:cubicBezTo>
                  <a:cubicBezTo>
                    <a:pt x="75" y="15"/>
                    <a:pt x="75" y="35"/>
                    <a:pt x="81" y="44"/>
                  </a:cubicBezTo>
                  <a:cubicBezTo>
                    <a:pt x="84" y="47"/>
                    <a:pt x="87" y="47"/>
                    <a:pt x="90" y="47"/>
                  </a:cubicBezTo>
                  <a:cubicBezTo>
                    <a:pt x="90" y="47"/>
                    <a:pt x="93" y="50"/>
                    <a:pt x="96" y="50"/>
                  </a:cubicBezTo>
                  <a:cubicBezTo>
                    <a:pt x="96" y="65"/>
                    <a:pt x="90" y="71"/>
                    <a:pt x="108" y="83"/>
                  </a:cubicBezTo>
                  <a:cubicBezTo>
                    <a:pt x="111" y="89"/>
                    <a:pt x="114" y="92"/>
                    <a:pt x="117" y="98"/>
                  </a:cubicBezTo>
                  <a:cubicBezTo>
                    <a:pt x="105" y="104"/>
                    <a:pt x="105" y="101"/>
                    <a:pt x="99" y="110"/>
                  </a:cubicBezTo>
                  <a:cubicBezTo>
                    <a:pt x="99" y="116"/>
                    <a:pt x="99" y="125"/>
                    <a:pt x="99" y="13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7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8375112" y="4966753"/>
              <a:ext cx="193229" cy="419748"/>
            </a:xfrm>
            <a:custGeom>
              <a:avLst/>
              <a:gdLst>
                <a:gd name="T0" fmla="*/ 268986804 w 81"/>
                <a:gd name="T1" fmla="*/ 1338556246 h 194"/>
                <a:gd name="T2" fmla="*/ 165531543 w 81"/>
                <a:gd name="T3" fmla="*/ 1193659935 h 194"/>
                <a:gd name="T4" fmla="*/ 103457887 w 81"/>
                <a:gd name="T5" fmla="*/ 1172961212 h 194"/>
                <a:gd name="T6" fmla="*/ 20692099 w 81"/>
                <a:gd name="T7" fmla="*/ 1007366178 h 194"/>
                <a:gd name="T8" fmla="*/ 0 w 81"/>
                <a:gd name="T9" fmla="*/ 931469111 h 194"/>
                <a:gd name="T10" fmla="*/ 41381573 w 81"/>
                <a:gd name="T11" fmla="*/ 745175354 h 194"/>
                <a:gd name="T12" fmla="*/ 124147355 w 81"/>
                <a:gd name="T13" fmla="*/ 496782639 h 194"/>
                <a:gd name="T14" fmla="*/ 144839449 w 81"/>
                <a:gd name="T15" fmla="*/ 372587677 h 194"/>
                <a:gd name="T16" fmla="*/ 289678898 w 81"/>
                <a:gd name="T17" fmla="*/ 103496281 h 194"/>
                <a:gd name="T18" fmla="*/ 413826294 w 81"/>
                <a:gd name="T19" fmla="*/ 0 h 194"/>
                <a:gd name="T20" fmla="*/ 517284140 w 81"/>
                <a:gd name="T21" fmla="*/ 0 h 194"/>
                <a:gd name="T22" fmla="*/ 537973608 w 81"/>
                <a:gd name="T23" fmla="*/ 144896352 h 194"/>
                <a:gd name="T24" fmla="*/ 517284140 w 81"/>
                <a:gd name="T25" fmla="*/ 600281506 h 194"/>
                <a:gd name="T26" fmla="*/ 351752637 w 81"/>
                <a:gd name="T27" fmla="*/ 931469111 h 194"/>
                <a:gd name="T28" fmla="*/ 331060461 w 81"/>
                <a:gd name="T29" fmla="*/ 986667456 h 194"/>
                <a:gd name="T30" fmla="*/ 310370993 w 81"/>
                <a:gd name="T31" fmla="*/ 1317857524 h 194"/>
                <a:gd name="T32" fmla="*/ 268986804 w 81"/>
                <a:gd name="T33" fmla="*/ 1338556246 h 19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81"/>
                <a:gd name="T52" fmla="*/ 0 h 194"/>
                <a:gd name="T53" fmla="*/ 81 w 81"/>
                <a:gd name="T54" fmla="*/ 194 h 19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81" h="194">
                  <a:moveTo>
                    <a:pt x="39" y="194"/>
                  </a:moveTo>
                  <a:cubicBezTo>
                    <a:pt x="33" y="185"/>
                    <a:pt x="30" y="179"/>
                    <a:pt x="24" y="173"/>
                  </a:cubicBezTo>
                  <a:cubicBezTo>
                    <a:pt x="21" y="170"/>
                    <a:pt x="18" y="170"/>
                    <a:pt x="15" y="170"/>
                  </a:cubicBezTo>
                  <a:cubicBezTo>
                    <a:pt x="12" y="158"/>
                    <a:pt x="6" y="149"/>
                    <a:pt x="3" y="146"/>
                  </a:cubicBezTo>
                  <a:cubicBezTo>
                    <a:pt x="0" y="143"/>
                    <a:pt x="0" y="141"/>
                    <a:pt x="0" y="135"/>
                  </a:cubicBezTo>
                  <a:cubicBezTo>
                    <a:pt x="3" y="126"/>
                    <a:pt x="6" y="117"/>
                    <a:pt x="6" y="108"/>
                  </a:cubicBezTo>
                  <a:cubicBezTo>
                    <a:pt x="0" y="87"/>
                    <a:pt x="9" y="84"/>
                    <a:pt x="18" y="72"/>
                  </a:cubicBezTo>
                  <a:cubicBezTo>
                    <a:pt x="18" y="66"/>
                    <a:pt x="18" y="60"/>
                    <a:pt x="21" y="54"/>
                  </a:cubicBezTo>
                  <a:cubicBezTo>
                    <a:pt x="27" y="36"/>
                    <a:pt x="30" y="27"/>
                    <a:pt x="42" y="15"/>
                  </a:cubicBezTo>
                  <a:cubicBezTo>
                    <a:pt x="48" y="9"/>
                    <a:pt x="54" y="6"/>
                    <a:pt x="60" y="0"/>
                  </a:cubicBezTo>
                  <a:cubicBezTo>
                    <a:pt x="66" y="0"/>
                    <a:pt x="69" y="0"/>
                    <a:pt x="75" y="0"/>
                  </a:cubicBezTo>
                  <a:cubicBezTo>
                    <a:pt x="75" y="3"/>
                    <a:pt x="81" y="15"/>
                    <a:pt x="78" y="21"/>
                  </a:cubicBezTo>
                  <a:cubicBezTo>
                    <a:pt x="69" y="36"/>
                    <a:pt x="75" y="63"/>
                    <a:pt x="75" y="87"/>
                  </a:cubicBezTo>
                  <a:cubicBezTo>
                    <a:pt x="69" y="102"/>
                    <a:pt x="60" y="120"/>
                    <a:pt x="51" y="135"/>
                  </a:cubicBezTo>
                  <a:cubicBezTo>
                    <a:pt x="51" y="138"/>
                    <a:pt x="51" y="141"/>
                    <a:pt x="48" y="143"/>
                  </a:cubicBezTo>
                  <a:cubicBezTo>
                    <a:pt x="48" y="158"/>
                    <a:pt x="45" y="176"/>
                    <a:pt x="45" y="191"/>
                  </a:cubicBezTo>
                  <a:cubicBezTo>
                    <a:pt x="42" y="191"/>
                    <a:pt x="39" y="194"/>
                    <a:pt x="39" y="194"/>
                  </a:cubicBezTo>
                  <a:close/>
                </a:path>
              </a:pathLst>
            </a:custGeom>
            <a:noFill/>
            <a:ln w="7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ea typeface="宋体" pitchFamily="2" charset="-122"/>
              </a:endParaRPr>
            </a:p>
          </p:txBody>
        </p:sp>
        <p:sp>
          <p:nvSpPr>
            <p:cNvPr id="36" name="Rectangle 127"/>
            <p:cNvSpPr>
              <a:spLocks noChangeArrowheads="1"/>
            </p:cNvSpPr>
            <p:nvPr/>
          </p:nvSpPr>
          <p:spPr bwMode="auto">
            <a:xfrm>
              <a:off x="8160519" y="3544725"/>
              <a:ext cx="165368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800" b="1" dirty="0">
                  <a:solidFill>
                    <a:srgbClr val="FF0000"/>
                  </a:solidFill>
                  <a:latin typeface="微软雅黑" pitchFamily="34" charset="-122"/>
                </a:rPr>
                <a:t>青岛</a:t>
              </a:r>
            </a:p>
          </p:txBody>
        </p:sp>
        <p:sp>
          <p:nvSpPr>
            <p:cNvPr id="37" name="Rectangle 127"/>
            <p:cNvSpPr>
              <a:spLocks noChangeArrowheads="1"/>
            </p:cNvSpPr>
            <p:nvPr/>
          </p:nvSpPr>
          <p:spPr bwMode="auto">
            <a:xfrm>
              <a:off x="8111945" y="4088160"/>
              <a:ext cx="165368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800" b="1" dirty="0">
                  <a:solidFill>
                    <a:schemeClr val="bg1"/>
                  </a:solidFill>
                  <a:latin typeface="微软雅黑" pitchFamily="34" charset="-122"/>
                </a:rPr>
                <a:t>南京</a:t>
              </a:r>
            </a:p>
          </p:txBody>
        </p:sp>
        <p:sp>
          <p:nvSpPr>
            <p:cNvPr id="38" name="Rectangle 127"/>
            <p:cNvSpPr>
              <a:spLocks noChangeArrowheads="1"/>
            </p:cNvSpPr>
            <p:nvPr/>
          </p:nvSpPr>
          <p:spPr bwMode="auto">
            <a:xfrm>
              <a:off x="8467570" y="4090114"/>
              <a:ext cx="165368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zh-CN" altLang="en-US" sz="800" b="1" dirty="0">
                  <a:solidFill>
                    <a:srgbClr val="FF0000"/>
                  </a:solidFill>
                  <a:latin typeface="微软雅黑" pitchFamily="34" charset="-122"/>
                </a:rPr>
                <a:t>上海</a:t>
              </a:r>
            </a:p>
          </p:txBody>
        </p:sp>
        <p:sp>
          <p:nvSpPr>
            <p:cNvPr id="39" name="Rectangle 127"/>
            <p:cNvSpPr>
              <a:spLocks noChangeArrowheads="1"/>
            </p:cNvSpPr>
            <p:nvPr/>
          </p:nvSpPr>
          <p:spPr bwMode="auto">
            <a:xfrm>
              <a:off x="8160519" y="4364793"/>
              <a:ext cx="165368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800" b="1" dirty="0">
                  <a:solidFill>
                    <a:schemeClr val="bg1"/>
                  </a:solidFill>
                  <a:latin typeface="微软雅黑" pitchFamily="34" charset="-122"/>
                </a:rPr>
                <a:t>杭州</a:t>
              </a:r>
            </a:p>
          </p:txBody>
        </p:sp>
        <p:sp>
          <p:nvSpPr>
            <p:cNvPr id="40" name="Rectangle 127"/>
            <p:cNvSpPr>
              <a:spLocks noChangeArrowheads="1"/>
            </p:cNvSpPr>
            <p:nvPr/>
          </p:nvSpPr>
          <p:spPr bwMode="auto">
            <a:xfrm>
              <a:off x="7459437" y="5217459"/>
              <a:ext cx="165368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800" b="1" dirty="0">
                  <a:solidFill>
                    <a:schemeClr val="bg1"/>
                  </a:solidFill>
                  <a:latin typeface="微软雅黑" pitchFamily="34" charset="-122"/>
                </a:rPr>
                <a:t>广州</a:t>
              </a:r>
            </a:p>
          </p:txBody>
        </p:sp>
        <p:sp>
          <p:nvSpPr>
            <p:cNvPr id="41" name="Rectangle 127"/>
            <p:cNvSpPr>
              <a:spLocks noChangeArrowheads="1"/>
            </p:cNvSpPr>
            <p:nvPr/>
          </p:nvSpPr>
          <p:spPr bwMode="auto">
            <a:xfrm>
              <a:off x="7338307" y="4316864"/>
              <a:ext cx="165368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800" b="1" dirty="0">
                  <a:solidFill>
                    <a:schemeClr val="accent2"/>
                  </a:solidFill>
                  <a:latin typeface="微软雅黑" pitchFamily="34" charset="-122"/>
                </a:rPr>
                <a:t>武汉</a:t>
              </a:r>
            </a:p>
          </p:txBody>
        </p:sp>
        <p:sp>
          <p:nvSpPr>
            <p:cNvPr id="42" name="Rectangle 127"/>
            <p:cNvSpPr>
              <a:spLocks noChangeArrowheads="1"/>
            </p:cNvSpPr>
            <p:nvPr/>
          </p:nvSpPr>
          <p:spPr bwMode="auto">
            <a:xfrm>
              <a:off x="6080936" y="4399420"/>
              <a:ext cx="165368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800" b="1" dirty="0">
                  <a:solidFill>
                    <a:schemeClr val="accent2"/>
                  </a:solidFill>
                  <a:latin typeface="+mj-ea"/>
                  <a:ea typeface="+mj-ea"/>
                </a:rPr>
                <a:t>成都</a:t>
              </a:r>
            </a:p>
          </p:txBody>
        </p:sp>
        <p:sp>
          <p:nvSpPr>
            <p:cNvPr id="43" name="Rectangle 127"/>
            <p:cNvSpPr>
              <a:spLocks noChangeArrowheads="1"/>
            </p:cNvSpPr>
            <p:nvPr/>
          </p:nvSpPr>
          <p:spPr bwMode="auto">
            <a:xfrm>
              <a:off x="4612915" y="2712407"/>
              <a:ext cx="330737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800" b="1" dirty="0">
                  <a:solidFill>
                    <a:schemeClr val="accent2"/>
                  </a:solidFill>
                  <a:latin typeface="微软雅黑" pitchFamily="34" charset="-122"/>
                </a:rPr>
                <a:t>乌鲁木齐</a:t>
              </a:r>
            </a:p>
          </p:txBody>
        </p:sp>
        <p:sp>
          <p:nvSpPr>
            <p:cNvPr id="44" name="Rectangle 127"/>
            <p:cNvSpPr>
              <a:spLocks noChangeArrowheads="1"/>
            </p:cNvSpPr>
            <p:nvPr/>
          </p:nvSpPr>
          <p:spPr bwMode="auto">
            <a:xfrm>
              <a:off x="7619140" y="2958828"/>
              <a:ext cx="165368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800" b="1" dirty="0">
                  <a:solidFill>
                    <a:srgbClr val="FF0000"/>
                  </a:solidFill>
                  <a:latin typeface="微软雅黑" pitchFamily="34" charset="-122"/>
                </a:rPr>
                <a:t>北京</a:t>
              </a:r>
            </a:p>
          </p:txBody>
        </p:sp>
        <p:sp>
          <p:nvSpPr>
            <p:cNvPr id="45" name="Rectangle 127"/>
            <p:cNvSpPr>
              <a:spLocks noChangeArrowheads="1"/>
            </p:cNvSpPr>
            <p:nvPr/>
          </p:nvSpPr>
          <p:spPr bwMode="auto">
            <a:xfrm>
              <a:off x="8098644" y="2857422"/>
              <a:ext cx="165368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800" b="1" dirty="0">
                  <a:solidFill>
                    <a:srgbClr val="FF0000"/>
                  </a:solidFill>
                  <a:latin typeface="微软雅黑" pitchFamily="34" charset="-122"/>
                </a:rPr>
                <a:t>沈阳</a:t>
              </a:r>
            </a:p>
          </p:txBody>
        </p:sp>
        <p:sp>
          <p:nvSpPr>
            <p:cNvPr id="46" name="Rectangle 127"/>
            <p:cNvSpPr>
              <a:spLocks noChangeArrowheads="1"/>
            </p:cNvSpPr>
            <p:nvPr/>
          </p:nvSpPr>
          <p:spPr bwMode="auto">
            <a:xfrm>
              <a:off x="7922322" y="3241996"/>
              <a:ext cx="165368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zh-CN" altLang="en-US" sz="800" b="1" dirty="0">
                  <a:solidFill>
                    <a:srgbClr val="FF0000"/>
                  </a:solidFill>
                  <a:latin typeface="微软雅黑" pitchFamily="34" charset="-122"/>
                </a:rPr>
                <a:t>天津</a:t>
              </a:r>
            </a:p>
          </p:txBody>
        </p:sp>
        <p:sp>
          <p:nvSpPr>
            <p:cNvPr id="47" name="Rectangle 127"/>
            <p:cNvSpPr>
              <a:spLocks noChangeArrowheads="1"/>
            </p:cNvSpPr>
            <p:nvPr/>
          </p:nvSpPr>
          <p:spPr bwMode="auto">
            <a:xfrm>
              <a:off x="8408144" y="2125274"/>
              <a:ext cx="248053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800" b="1" dirty="0">
                  <a:solidFill>
                    <a:srgbClr val="FF0000"/>
                  </a:solidFill>
                  <a:latin typeface="微软雅黑" pitchFamily="34" charset="-122"/>
                </a:rPr>
                <a:t>哈尔滨</a:t>
              </a:r>
            </a:p>
          </p:txBody>
        </p:sp>
        <p:sp>
          <p:nvSpPr>
            <p:cNvPr id="48" name="Rectangle 127"/>
            <p:cNvSpPr>
              <a:spLocks noChangeArrowheads="1"/>
            </p:cNvSpPr>
            <p:nvPr/>
          </p:nvSpPr>
          <p:spPr bwMode="auto">
            <a:xfrm>
              <a:off x="7691108" y="5379350"/>
              <a:ext cx="165368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zh-CN" altLang="en-US" sz="800" dirty="0">
                  <a:solidFill>
                    <a:srgbClr val="000000">
                      <a:lumMod val="95000"/>
                      <a:lumOff val="5000"/>
                    </a:srgbClr>
                  </a:solidFill>
                  <a:latin typeface="微软雅黑" pitchFamily="34" charset="-122"/>
                </a:rPr>
                <a:t>香港</a:t>
              </a:r>
            </a:p>
          </p:txBody>
        </p:sp>
        <p:sp>
          <p:nvSpPr>
            <p:cNvPr id="50" name="Rectangle 127"/>
            <p:cNvSpPr>
              <a:spLocks noChangeArrowheads="1"/>
            </p:cNvSpPr>
            <p:nvPr/>
          </p:nvSpPr>
          <p:spPr bwMode="auto">
            <a:xfrm>
              <a:off x="8304400" y="3969219"/>
              <a:ext cx="165368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800" b="1" dirty="0">
                  <a:solidFill>
                    <a:schemeClr val="accent2"/>
                  </a:solidFill>
                  <a:latin typeface="微软雅黑" pitchFamily="34" charset="-122"/>
                </a:rPr>
                <a:t>苏州</a:t>
              </a:r>
            </a:p>
          </p:txBody>
        </p:sp>
        <p:sp>
          <p:nvSpPr>
            <p:cNvPr id="52" name="Oval 51"/>
            <p:cNvSpPr/>
            <p:nvPr/>
          </p:nvSpPr>
          <p:spPr>
            <a:xfrm>
              <a:off x="8386267" y="4168717"/>
              <a:ext cx="107474" cy="126938"/>
            </a:xfrm>
            <a:prstGeom prst="ellipse">
              <a:avLst/>
            </a:prstGeom>
            <a:solidFill>
              <a:srgbClr val="FF870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chemeClr val="accent1"/>
                </a:solidFill>
                <a:ea typeface="宋体" pitchFamily="2" charset="-122"/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6067174" y="4261128"/>
              <a:ext cx="107474" cy="126938"/>
            </a:xfrm>
            <a:prstGeom prst="ellipse">
              <a:avLst/>
            </a:prstGeom>
            <a:solidFill>
              <a:srgbClr val="FF870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chemeClr val="accent1"/>
                </a:solidFill>
                <a:ea typeface="宋体" pitchFamily="2" charset="-122"/>
              </a:endParaRPr>
            </a:p>
          </p:txBody>
        </p:sp>
        <p:sp>
          <p:nvSpPr>
            <p:cNvPr id="54" name="Oval 53"/>
            <p:cNvSpPr/>
            <p:nvPr/>
          </p:nvSpPr>
          <p:spPr>
            <a:xfrm>
              <a:off x="7518478" y="5283217"/>
              <a:ext cx="107474" cy="126938"/>
            </a:xfrm>
            <a:prstGeom prst="ellipse">
              <a:avLst/>
            </a:prstGeom>
            <a:solidFill>
              <a:srgbClr val="FF870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chemeClr val="accent1"/>
                </a:solidFill>
                <a:ea typeface="宋体" pitchFamily="2" charset="-122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8043069" y="4154715"/>
              <a:ext cx="107474" cy="126938"/>
            </a:xfrm>
            <a:prstGeom prst="ellipse">
              <a:avLst/>
            </a:prstGeom>
            <a:solidFill>
              <a:srgbClr val="FF870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chemeClr val="accent1"/>
                </a:solidFill>
                <a:ea typeface="宋体" pitchFamily="2" charset="-122"/>
              </a:endParaRPr>
            </a:p>
          </p:txBody>
        </p:sp>
        <p:sp>
          <p:nvSpPr>
            <p:cNvPr id="56" name="Oval 55"/>
            <p:cNvSpPr/>
            <p:nvPr/>
          </p:nvSpPr>
          <p:spPr>
            <a:xfrm>
              <a:off x="7708235" y="3058035"/>
              <a:ext cx="107474" cy="126938"/>
            </a:xfrm>
            <a:prstGeom prst="ellipse">
              <a:avLst/>
            </a:prstGeom>
            <a:solidFill>
              <a:srgbClr val="FF870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chemeClr val="accent1"/>
                </a:solidFill>
                <a:ea typeface="宋体" pitchFamily="2" charset="-122"/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8301669" y="2874926"/>
              <a:ext cx="107474" cy="126938"/>
            </a:xfrm>
            <a:prstGeom prst="ellipse">
              <a:avLst/>
            </a:prstGeom>
            <a:solidFill>
              <a:srgbClr val="FF870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chemeClr val="accent1"/>
                </a:solidFill>
                <a:ea typeface="宋体" pitchFamily="2" charset="-122"/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8043069" y="3534801"/>
              <a:ext cx="107474" cy="126938"/>
            </a:xfrm>
            <a:prstGeom prst="ellipse">
              <a:avLst/>
            </a:prstGeom>
            <a:solidFill>
              <a:srgbClr val="FF870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chemeClr val="accent1"/>
                </a:solidFill>
                <a:ea typeface="宋体" pitchFamily="2" charset="-122"/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7367256" y="4183482"/>
              <a:ext cx="107474" cy="126938"/>
            </a:xfrm>
            <a:prstGeom prst="ellipse">
              <a:avLst/>
            </a:prstGeom>
            <a:solidFill>
              <a:srgbClr val="FF870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chemeClr val="accent1"/>
                </a:solidFill>
                <a:ea typeface="宋体" pitchFamily="2" charset="-122"/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8307777" y="4060576"/>
              <a:ext cx="107474" cy="126938"/>
            </a:xfrm>
            <a:prstGeom prst="ellipse">
              <a:avLst/>
            </a:prstGeom>
            <a:solidFill>
              <a:srgbClr val="FF870C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CN" altLang="en-US">
                <a:solidFill>
                  <a:schemeClr val="accent1"/>
                </a:solidFill>
                <a:ea typeface="宋体" pitchFamily="2" charset="-122"/>
              </a:endParaRPr>
            </a:p>
          </p:txBody>
        </p:sp>
        <p:sp>
          <p:nvSpPr>
            <p:cNvPr id="64" name="Rectangle 127"/>
            <p:cNvSpPr>
              <a:spLocks noChangeArrowheads="1"/>
            </p:cNvSpPr>
            <p:nvPr/>
          </p:nvSpPr>
          <p:spPr bwMode="auto">
            <a:xfrm>
              <a:off x="6680263" y="4000656"/>
              <a:ext cx="165368" cy="1081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zh-CN" altLang="en-US" sz="800" b="1" dirty="0">
                  <a:solidFill>
                    <a:schemeClr val="accent2"/>
                  </a:solidFill>
                  <a:latin typeface="微软雅黑" pitchFamily="34" charset="-122"/>
                </a:rPr>
                <a:t>西安</a:t>
              </a:r>
            </a:p>
          </p:txBody>
        </p:sp>
        <p:sp>
          <p:nvSpPr>
            <p:cNvPr id="65" name="AutoShape 50"/>
            <p:cNvSpPr>
              <a:spLocks noChangeArrowheads="1"/>
            </p:cNvSpPr>
            <p:nvPr/>
          </p:nvSpPr>
          <p:spPr bwMode="auto">
            <a:xfrm>
              <a:off x="7374212" y="5274347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66" name="AutoShape 50"/>
            <p:cNvSpPr>
              <a:spLocks noChangeArrowheads="1"/>
            </p:cNvSpPr>
            <p:nvPr/>
          </p:nvSpPr>
          <p:spPr bwMode="auto">
            <a:xfrm>
              <a:off x="5950435" y="5024271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  <a:latin typeface="+mj-ea"/>
                <a:ea typeface="+mj-ea"/>
              </a:endParaRPr>
            </a:p>
          </p:txBody>
        </p:sp>
        <p:sp>
          <p:nvSpPr>
            <p:cNvPr id="67" name="AutoShape 50"/>
            <p:cNvSpPr>
              <a:spLocks noChangeArrowheads="1"/>
            </p:cNvSpPr>
            <p:nvPr/>
          </p:nvSpPr>
          <p:spPr bwMode="auto">
            <a:xfrm>
              <a:off x="6147089" y="4187514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68" name="AutoShape 50"/>
            <p:cNvSpPr>
              <a:spLocks noChangeArrowheads="1"/>
            </p:cNvSpPr>
            <p:nvPr/>
          </p:nvSpPr>
          <p:spPr bwMode="auto">
            <a:xfrm>
              <a:off x="4749523" y="2797667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69" name="AutoShape 50"/>
            <p:cNvSpPr>
              <a:spLocks noChangeArrowheads="1"/>
            </p:cNvSpPr>
            <p:nvPr/>
          </p:nvSpPr>
          <p:spPr bwMode="auto">
            <a:xfrm>
              <a:off x="6765656" y="3840907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70" name="AutoShape 50"/>
            <p:cNvSpPr>
              <a:spLocks noChangeArrowheads="1"/>
            </p:cNvSpPr>
            <p:nvPr/>
          </p:nvSpPr>
          <p:spPr bwMode="auto">
            <a:xfrm>
              <a:off x="8067966" y="3444659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71" name="AutoShape 50"/>
            <p:cNvSpPr>
              <a:spLocks noChangeArrowheads="1"/>
            </p:cNvSpPr>
            <p:nvPr/>
          </p:nvSpPr>
          <p:spPr bwMode="auto">
            <a:xfrm>
              <a:off x="7725487" y="2801874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72" name="AutoShape 50"/>
            <p:cNvSpPr>
              <a:spLocks noChangeArrowheads="1"/>
            </p:cNvSpPr>
            <p:nvPr/>
          </p:nvSpPr>
          <p:spPr bwMode="auto">
            <a:xfrm>
              <a:off x="8284747" y="4271999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73" name="AutoShape 50"/>
            <p:cNvSpPr>
              <a:spLocks noChangeArrowheads="1"/>
            </p:cNvSpPr>
            <p:nvPr/>
          </p:nvSpPr>
          <p:spPr bwMode="auto">
            <a:xfrm>
              <a:off x="7467007" y="4161956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74" name="AutoShape 50"/>
            <p:cNvSpPr>
              <a:spLocks noChangeArrowheads="1"/>
            </p:cNvSpPr>
            <p:nvPr/>
          </p:nvSpPr>
          <p:spPr bwMode="auto">
            <a:xfrm>
              <a:off x="7957187" y="4008024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75" name="AutoShape 50"/>
            <p:cNvSpPr>
              <a:spLocks noChangeArrowheads="1"/>
            </p:cNvSpPr>
            <p:nvPr/>
          </p:nvSpPr>
          <p:spPr bwMode="auto">
            <a:xfrm>
              <a:off x="8404518" y="2767270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76" name="AutoShape 50"/>
            <p:cNvSpPr>
              <a:spLocks noChangeArrowheads="1"/>
            </p:cNvSpPr>
            <p:nvPr/>
          </p:nvSpPr>
          <p:spPr bwMode="auto">
            <a:xfrm>
              <a:off x="7835289" y="4194862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77" name="AutoShape 50"/>
            <p:cNvSpPr>
              <a:spLocks noChangeArrowheads="1"/>
            </p:cNvSpPr>
            <p:nvPr/>
          </p:nvSpPr>
          <p:spPr bwMode="auto">
            <a:xfrm>
              <a:off x="7593395" y="5299211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78" name="AutoShape 50"/>
            <p:cNvSpPr>
              <a:spLocks noChangeArrowheads="1"/>
            </p:cNvSpPr>
            <p:nvPr/>
          </p:nvSpPr>
          <p:spPr bwMode="auto">
            <a:xfrm>
              <a:off x="8039484" y="4906770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79" name="AutoShape 50"/>
            <p:cNvSpPr>
              <a:spLocks noChangeArrowheads="1"/>
            </p:cNvSpPr>
            <p:nvPr/>
          </p:nvSpPr>
          <p:spPr bwMode="auto">
            <a:xfrm>
              <a:off x="8437027" y="4161956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80" name="AutoShape 50"/>
            <p:cNvSpPr>
              <a:spLocks noChangeArrowheads="1"/>
            </p:cNvSpPr>
            <p:nvPr/>
          </p:nvSpPr>
          <p:spPr bwMode="auto">
            <a:xfrm>
              <a:off x="8348289" y="4022680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81" name="AutoShape 50"/>
            <p:cNvSpPr>
              <a:spLocks noChangeArrowheads="1"/>
            </p:cNvSpPr>
            <p:nvPr/>
          </p:nvSpPr>
          <p:spPr bwMode="auto">
            <a:xfrm>
              <a:off x="7194043" y="3545360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82" name="AutoShape 50"/>
            <p:cNvSpPr>
              <a:spLocks noChangeArrowheads="1"/>
            </p:cNvSpPr>
            <p:nvPr/>
          </p:nvSpPr>
          <p:spPr bwMode="auto">
            <a:xfrm>
              <a:off x="7420994" y="3901795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83" name="AutoShape 50"/>
            <p:cNvSpPr>
              <a:spLocks noChangeArrowheads="1"/>
            </p:cNvSpPr>
            <p:nvPr/>
          </p:nvSpPr>
          <p:spPr bwMode="auto">
            <a:xfrm>
              <a:off x="7636573" y="3173100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84" name="AutoShape 50"/>
            <p:cNvSpPr>
              <a:spLocks noChangeArrowheads="1"/>
            </p:cNvSpPr>
            <p:nvPr/>
          </p:nvSpPr>
          <p:spPr bwMode="auto">
            <a:xfrm>
              <a:off x="7723326" y="3528260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85" name="AutoShape 50"/>
            <p:cNvSpPr>
              <a:spLocks noChangeArrowheads="1"/>
            </p:cNvSpPr>
            <p:nvPr/>
          </p:nvSpPr>
          <p:spPr bwMode="auto">
            <a:xfrm>
              <a:off x="6680264" y="4369291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  <p:sp>
          <p:nvSpPr>
            <p:cNvPr id="86" name="AutoShape 50"/>
            <p:cNvSpPr>
              <a:spLocks noChangeArrowheads="1"/>
            </p:cNvSpPr>
            <p:nvPr/>
          </p:nvSpPr>
          <p:spPr bwMode="auto">
            <a:xfrm>
              <a:off x="5960643" y="3452333"/>
              <a:ext cx="130504" cy="188316"/>
            </a:xfrm>
            <a:prstGeom prst="star4">
              <a:avLst>
                <a:gd name="adj" fmla="val 12500"/>
              </a:avLst>
            </a:prstGeom>
            <a:solidFill>
              <a:srgbClr val="92D05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>
                <a:defRPr/>
              </a:pPr>
              <a:endParaRPr lang="zh-CN" altLang="en-US">
                <a:solidFill>
                  <a:schemeClr val="accent1"/>
                </a:solidFill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438050" y="4965504"/>
            <a:ext cx="2042087" cy="1073789"/>
            <a:chOff x="437894" y="3966534"/>
            <a:chExt cx="2204434" cy="1180675"/>
          </a:xfrm>
        </p:grpSpPr>
        <p:grpSp>
          <p:nvGrpSpPr>
            <p:cNvPr id="88" name="Group 87"/>
            <p:cNvGrpSpPr/>
            <p:nvPr/>
          </p:nvGrpSpPr>
          <p:grpSpPr>
            <a:xfrm flipV="1">
              <a:off x="437894" y="3966534"/>
              <a:ext cx="2204434" cy="1180675"/>
              <a:chOff x="437894" y="2052202"/>
              <a:chExt cx="2042243" cy="1983893"/>
            </a:xfrm>
            <a:gradFill>
              <a:gsLst>
                <a:gs pos="0">
                  <a:schemeClr val="accent1"/>
                </a:gs>
                <a:gs pos="67000">
                  <a:schemeClr val="accent2"/>
                </a:gs>
                <a:gs pos="100000">
                  <a:schemeClr val="accent1"/>
                </a:gs>
              </a:gsLst>
              <a:lin ang="1200000" scaled="0"/>
            </a:gradFill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89" name="Rectangle 88"/>
              <p:cNvSpPr/>
              <p:nvPr/>
            </p:nvSpPr>
            <p:spPr>
              <a:xfrm>
                <a:off x="437894" y="2052202"/>
                <a:ext cx="1873250" cy="1983893"/>
              </a:xfrm>
              <a:prstGeom prst="rect">
                <a:avLst/>
              </a:prstGeom>
              <a:grpFill/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tlCol="0" anchor="t" anchorCtr="0"/>
              <a:lstStyle/>
              <a:p>
                <a:pPr>
                  <a:lnSpc>
                    <a:spcPct val="110000"/>
                  </a:lnSpc>
                  <a:spcBef>
                    <a:spcPts val="600"/>
                  </a:spcBef>
                </a:pPr>
                <a:endParaRPr lang="zh-CN" altLang="en-US" sz="11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Isosceles Triangle 89"/>
              <p:cNvSpPr/>
              <p:nvPr/>
            </p:nvSpPr>
            <p:spPr>
              <a:xfrm rot="5400000">
                <a:off x="2248571" y="3487240"/>
                <a:ext cx="294139" cy="168993"/>
              </a:xfrm>
              <a:prstGeom prst="triangle">
                <a:avLst>
                  <a:gd name="adj" fmla="val 52747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i-FI" noProof="0" dirty="0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535555" y="4055977"/>
              <a:ext cx="1924345" cy="727427"/>
              <a:chOff x="521267" y="4662549"/>
              <a:chExt cx="1924345" cy="727427"/>
            </a:xfrm>
          </p:grpSpPr>
          <p:sp>
            <p:nvSpPr>
              <p:cNvPr id="96" name="Oval 95"/>
              <p:cNvSpPr/>
              <p:nvPr/>
            </p:nvSpPr>
            <p:spPr>
              <a:xfrm>
                <a:off x="535555" y="4849647"/>
                <a:ext cx="133350" cy="144462"/>
              </a:xfrm>
              <a:prstGeom prst="ellipse">
                <a:avLst/>
              </a:prstGeom>
              <a:solidFill>
                <a:srgbClr val="FF870C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>
                  <a:solidFill>
                    <a:schemeClr val="bg1"/>
                  </a:solidFill>
                  <a:latin typeface="+mj-ea"/>
                  <a:ea typeface="+mj-ea"/>
                </a:endParaRPr>
              </a:p>
            </p:txBody>
          </p:sp>
          <p:grpSp>
            <p:nvGrpSpPr>
              <p:cNvPr id="97" name="Group 94"/>
              <p:cNvGrpSpPr>
                <a:grpSpLocks/>
              </p:cNvGrpSpPr>
              <p:nvPr/>
            </p:nvGrpSpPr>
            <p:grpSpPr bwMode="auto">
              <a:xfrm>
                <a:off x="846147" y="4662549"/>
                <a:ext cx="1599465" cy="371605"/>
                <a:chOff x="879758" y="4588109"/>
                <a:chExt cx="2625488" cy="371125"/>
              </a:xfrm>
            </p:grpSpPr>
            <p:sp>
              <p:nvSpPr>
                <p:cNvPr id="100" name="Text Box 52"/>
                <p:cNvSpPr txBox="1">
                  <a:spLocks noChangeArrowheads="1"/>
                </p:cNvSpPr>
                <p:nvPr/>
              </p:nvSpPr>
              <p:spPr bwMode="auto">
                <a:xfrm>
                  <a:off x="898125" y="4756448"/>
                  <a:ext cx="2607121" cy="20278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eaLnBrk="0" hangingPunct="0">
                    <a:lnSpc>
                      <a:spcPts val="2500"/>
                    </a:lnSpc>
                    <a:spcBef>
                      <a:spcPts val="1000"/>
                    </a:spcBef>
                    <a:buClr>
                      <a:schemeClr val="tx1"/>
                    </a:buClr>
                    <a:defRPr sz="2400" b="1">
                      <a:solidFill>
                        <a:schemeClr val="tx1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1pPr>
                  <a:lvl2pPr marL="742950" indent="-285750" eaLnBrk="0" hangingPunct="0">
                    <a:spcBef>
                      <a:spcPts val="500"/>
                    </a:spcBef>
                    <a:buClr>
                      <a:schemeClr val="tx1"/>
                    </a:buClr>
                    <a:buFont typeface="Lucida Grande"/>
                    <a:buChar char="●"/>
                    <a:defRPr sz="22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2pPr>
                  <a:lvl3pPr marL="1143000" indent="-228600" eaLnBrk="0" hangingPunct="0">
                    <a:spcBef>
                      <a:spcPts val="500"/>
                    </a:spcBef>
                    <a:buClr>
                      <a:schemeClr val="tx1"/>
                    </a:buClr>
                    <a:buFont typeface="Lucida Grande"/>
                    <a:buChar char="●"/>
                    <a:defRPr sz="20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3pPr>
                  <a:lvl4pPr marL="1600200" indent="-228600" eaLnBrk="0" hangingPunct="0">
                    <a:spcBef>
                      <a:spcPts val="500"/>
                    </a:spcBef>
                    <a:buClr>
                      <a:schemeClr val="tx1"/>
                    </a:buClr>
                    <a:buFont typeface="Lucida Grande"/>
                    <a:buChar char="●"/>
                    <a:defRPr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4pPr>
                  <a:lvl5pPr marL="2057400" indent="-228600" eaLnBrk="0" hangingPunct="0">
                    <a:spcBef>
                      <a:spcPts val="500"/>
                    </a:spcBef>
                    <a:buClr>
                      <a:schemeClr val="tx1"/>
                    </a:buClr>
                    <a:buFont typeface="Lucida Grande"/>
                    <a:buChar char="●"/>
                    <a:defRPr sz="16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5pPr>
                  <a:lvl6pPr marL="25146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Lucida Grande"/>
                    <a:buChar char="●"/>
                    <a:defRPr sz="16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6pPr>
                  <a:lvl7pPr marL="29718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Lucida Grande"/>
                    <a:buChar char="●"/>
                    <a:defRPr sz="16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7pPr>
                  <a:lvl8pPr marL="34290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Lucida Grande"/>
                    <a:buChar char="●"/>
                    <a:defRPr sz="16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8pPr>
                  <a:lvl9pPr marL="38862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Lucida Grande"/>
                    <a:buChar char="●"/>
                    <a:defRPr sz="16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50000"/>
                    </a:spcBef>
                    <a:buClrTx/>
                  </a:pPr>
                  <a:r>
                    <a:rPr lang="zh-CN" altLang="en-US" sz="1200" dirty="0">
                      <a:solidFill>
                        <a:schemeClr val="bg1"/>
                      </a:solidFill>
                      <a:latin typeface="+mj-ea"/>
                      <a:ea typeface="+mj-ea"/>
                      <a:cs typeface="ヒラギノ角ゴ Pro W3"/>
                    </a:rPr>
                    <a:t>丹佛斯传动服务中心</a:t>
                  </a:r>
                  <a:endParaRPr lang="en-US" altLang="zh-CN" sz="1200" dirty="0">
                    <a:solidFill>
                      <a:schemeClr val="bg1"/>
                    </a:solidFill>
                    <a:latin typeface="+mj-ea"/>
                    <a:ea typeface="+mj-ea"/>
                    <a:cs typeface="ヒラギノ角ゴ Pro W3"/>
                  </a:endParaRPr>
                </a:p>
              </p:txBody>
            </p:sp>
            <p:sp>
              <p:nvSpPr>
                <p:cNvPr id="101" name="Text Box 53"/>
                <p:cNvSpPr txBox="1">
                  <a:spLocks noChangeArrowheads="1"/>
                </p:cNvSpPr>
                <p:nvPr/>
              </p:nvSpPr>
              <p:spPr bwMode="auto">
                <a:xfrm>
                  <a:off x="879758" y="4588109"/>
                  <a:ext cx="107" cy="18442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 eaLnBrk="0" hangingPunct="0">
                    <a:lnSpc>
                      <a:spcPts val="2500"/>
                    </a:lnSpc>
                    <a:spcBef>
                      <a:spcPts val="1000"/>
                    </a:spcBef>
                    <a:buClr>
                      <a:schemeClr val="tx1"/>
                    </a:buClr>
                    <a:defRPr sz="2400" b="1">
                      <a:solidFill>
                        <a:schemeClr val="tx1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1pPr>
                  <a:lvl2pPr marL="742950" indent="-285750" eaLnBrk="0" hangingPunct="0">
                    <a:spcBef>
                      <a:spcPts val="500"/>
                    </a:spcBef>
                    <a:buClr>
                      <a:schemeClr val="tx1"/>
                    </a:buClr>
                    <a:buFont typeface="Lucida Grande"/>
                    <a:buChar char="●"/>
                    <a:defRPr sz="22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2pPr>
                  <a:lvl3pPr marL="1143000" indent="-228600" eaLnBrk="0" hangingPunct="0">
                    <a:spcBef>
                      <a:spcPts val="500"/>
                    </a:spcBef>
                    <a:buClr>
                      <a:schemeClr val="tx1"/>
                    </a:buClr>
                    <a:buFont typeface="Lucida Grande"/>
                    <a:buChar char="●"/>
                    <a:defRPr sz="20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3pPr>
                  <a:lvl4pPr marL="1600200" indent="-228600" eaLnBrk="0" hangingPunct="0">
                    <a:spcBef>
                      <a:spcPts val="500"/>
                    </a:spcBef>
                    <a:buClr>
                      <a:schemeClr val="tx1"/>
                    </a:buClr>
                    <a:buFont typeface="Lucida Grande"/>
                    <a:buChar char="●"/>
                    <a:defRPr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4pPr>
                  <a:lvl5pPr marL="2057400" indent="-228600" eaLnBrk="0" hangingPunct="0">
                    <a:spcBef>
                      <a:spcPts val="500"/>
                    </a:spcBef>
                    <a:buClr>
                      <a:schemeClr val="tx1"/>
                    </a:buClr>
                    <a:buFont typeface="Lucida Grande"/>
                    <a:buChar char="●"/>
                    <a:defRPr sz="16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5pPr>
                  <a:lvl6pPr marL="25146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Lucida Grande"/>
                    <a:buChar char="●"/>
                    <a:defRPr sz="16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6pPr>
                  <a:lvl7pPr marL="29718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Lucida Grande"/>
                    <a:buChar char="●"/>
                    <a:defRPr sz="16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7pPr>
                  <a:lvl8pPr marL="34290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Lucida Grande"/>
                    <a:buChar char="●"/>
                    <a:defRPr sz="16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8pPr>
                  <a:lvl9pPr marL="3886200" indent="-228600" defTabSz="457200" eaLnBrk="0" fontAlgn="base" hangingPunct="0">
                    <a:spcBef>
                      <a:spcPts val="5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Lucida Grande"/>
                    <a:buChar char="●"/>
                    <a:defRPr sz="1600">
                      <a:solidFill>
                        <a:schemeClr val="tx2"/>
                      </a:solidFill>
                      <a:latin typeface="Verdana" pitchFamily="34" charset="0"/>
                      <a:ea typeface="ヒラギノ角ゴ Pro W3"/>
                      <a:cs typeface="Verdana" pitchFamily="34" charset="0"/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50000"/>
                    </a:spcBef>
                    <a:buClrTx/>
                  </a:pPr>
                  <a:endParaRPr lang="en-US" altLang="zh-CN" sz="1200" b="0" dirty="0">
                    <a:solidFill>
                      <a:schemeClr val="bg1"/>
                    </a:solidFill>
                    <a:latin typeface="+mj-ea"/>
                    <a:ea typeface="+mj-ea"/>
                    <a:cs typeface="ヒラギノ角ゴ Pro W3"/>
                  </a:endParaRPr>
                </a:p>
              </p:txBody>
            </p:sp>
          </p:grpSp>
          <p:sp>
            <p:nvSpPr>
              <p:cNvPr id="98" name="Text Box 49"/>
              <p:cNvSpPr txBox="1">
                <a:spLocks noChangeArrowheads="1"/>
              </p:cNvSpPr>
              <p:nvPr/>
            </p:nvSpPr>
            <p:spPr bwMode="auto">
              <a:xfrm>
                <a:off x="846703" y="5186928"/>
                <a:ext cx="1328980" cy="2030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 eaLnBrk="0" hangingPunct="0">
                  <a:lnSpc>
                    <a:spcPts val="2500"/>
                  </a:lnSpc>
                  <a:spcBef>
                    <a:spcPts val="1000"/>
                  </a:spcBef>
                  <a:buClr>
                    <a:schemeClr val="tx1"/>
                  </a:buClr>
                  <a:defRPr sz="2400" b="1">
                    <a:solidFill>
                      <a:schemeClr val="tx1"/>
                    </a:solidFill>
                    <a:latin typeface="Verdana" pitchFamily="34" charset="0"/>
                    <a:ea typeface="ヒラギノ角ゴ Pro W3"/>
                    <a:cs typeface="Verdana" pitchFamily="34" charset="0"/>
                  </a:defRPr>
                </a:lvl1pPr>
                <a:lvl2pPr marL="742950" indent="-285750" eaLnBrk="0" hangingPunct="0">
                  <a:spcBef>
                    <a:spcPts val="500"/>
                  </a:spcBef>
                  <a:buClr>
                    <a:schemeClr val="tx1"/>
                  </a:buClr>
                  <a:buFont typeface="Lucida Grande"/>
                  <a:buChar char="●"/>
                  <a:defRPr sz="2200">
                    <a:solidFill>
                      <a:schemeClr val="tx2"/>
                    </a:solidFill>
                    <a:latin typeface="Verdana" pitchFamily="34" charset="0"/>
                    <a:ea typeface="ヒラギノ角ゴ Pro W3"/>
                    <a:cs typeface="Verdana" pitchFamily="34" charset="0"/>
                  </a:defRPr>
                </a:lvl2pPr>
                <a:lvl3pPr marL="1143000" indent="-228600" eaLnBrk="0" hangingPunct="0">
                  <a:spcBef>
                    <a:spcPts val="500"/>
                  </a:spcBef>
                  <a:buClr>
                    <a:schemeClr val="tx1"/>
                  </a:buClr>
                  <a:buFont typeface="Lucida Grande"/>
                  <a:buChar char="●"/>
                  <a:defRPr sz="2000">
                    <a:solidFill>
                      <a:schemeClr val="tx2"/>
                    </a:solidFill>
                    <a:latin typeface="Verdana" pitchFamily="34" charset="0"/>
                    <a:ea typeface="ヒラギノ角ゴ Pro W3"/>
                    <a:cs typeface="Verdana" pitchFamily="34" charset="0"/>
                  </a:defRPr>
                </a:lvl3pPr>
                <a:lvl4pPr marL="1600200" indent="-228600" eaLnBrk="0" hangingPunct="0">
                  <a:spcBef>
                    <a:spcPts val="500"/>
                  </a:spcBef>
                  <a:buClr>
                    <a:schemeClr val="tx1"/>
                  </a:buClr>
                  <a:buFont typeface="Lucida Grande"/>
                  <a:buChar char="●"/>
                  <a:defRPr>
                    <a:solidFill>
                      <a:schemeClr val="tx2"/>
                    </a:solidFill>
                    <a:latin typeface="Verdana" pitchFamily="34" charset="0"/>
                    <a:ea typeface="ヒラギノ角ゴ Pro W3"/>
                    <a:cs typeface="Verdana" pitchFamily="34" charset="0"/>
                  </a:defRPr>
                </a:lvl4pPr>
                <a:lvl5pPr marL="2057400" indent="-228600" eaLnBrk="0" hangingPunct="0">
                  <a:spcBef>
                    <a:spcPts val="500"/>
                  </a:spcBef>
                  <a:buClr>
                    <a:schemeClr val="tx1"/>
                  </a:buClr>
                  <a:buFont typeface="Lucida Grande"/>
                  <a:buChar char="●"/>
                  <a:defRPr sz="1600">
                    <a:solidFill>
                      <a:schemeClr val="tx2"/>
                    </a:solidFill>
                    <a:latin typeface="Verdana" pitchFamily="34" charset="0"/>
                    <a:ea typeface="ヒラギノ角ゴ Pro W3"/>
                    <a:cs typeface="Verdana" pitchFamily="34" charset="0"/>
                  </a:defRPr>
                </a:lvl5pPr>
                <a:lvl6pPr marL="25146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Lucida Grande"/>
                  <a:buChar char="●"/>
                  <a:defRPr sz="1600">
                    <a:solidFill>
                      <a:schemeClr val="tx2"/>
                    </a:solidFill>
                    <a:latin typeface="Verdana" pitchFamily="34" charset="0"/>
                    <a:ea typeface="ヒラギノ角ゴ Pro W3"/>
                    <a:cs typeface="Verdana" pitchFamily="34" charset="0"/>
                  </a:defRPr>
                </a:lvl6pPr>
                <a:lvl7pPr marL="29718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Lucida Grande"/>
                  <a:buChar char="●"/>
                  <a:defRPr sz="1600">
                    <a:solidFill>
                      <a:schemeClr val="tx2"/>
                    </a:solidFill>
                    <a:latin typeface="Verdana" pitchFamily="34" charset="0"/>
                    <a:ea typeface="ヒラギノ角ゴ Pro W3"/>
                    <a:cs typeface="Verdana" pitchFamily="34" charset="0"/>
                  </a:defRPr>
                </a:lvl7pPr>
                <a:lvl8pPr marL="34290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Lucida Grande"/>
                  <a:buChar char="●"/>
                  <a:defRPr sz="1600">
                    <a:solidFill>
                      <a:schemeClr val="tx2"/>
                    </a:solidFill>
                    <a:latin typeface="Verdana" pitchFamily="34" charset="0"/>
                    <a:ea typeface="ヒラギノ角ゴ Pro W3"/>
                    <a:cs typeface="Verdana" pitchFamily="34" charset="0"/>
                  </a:defRPr>
                </a:lvl8pPr>
                <a:lvl9pPr marL="3886200" indent="-228600" defTabSz="457200" eaLnBrk="0" fontAlgn="base" hangingPunct="0">
                  <a:spcBef>
                    <a:spcPts val="500"/>
                  </a:spcBef>
                  <a:spcAft>
                    <a:spcPct val="0"/>
                  </a:spcAft>
                  <a:buClr>
                    <a:schemeClr val="tx1"/>
                  </a:buClr>
                  <a:buFont typeface="Lucida Grande"/>
                  <a:buChar char="●"/>
                  <a:defRPr sz="1600">
                    <a:solidFill>
                      <a:schemeClr val="tx2"/>
                    </a:solidFill>
                    <a:latin typeface="Verdana" pitchFamily="34" charset="0"/>
                    <a:ea typeface="ヒラギノ角ゴ Pro W3"/>
                    <a:cs typeface="Verdana" pitchFamily="34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50000"/>
                  </a:spcBef>
                  <a:buClrTx/>
                </a:pPr>
                <a:r>
                  <a:rPr lang="zh-CN" altLang="en-US" sz="1200" dirty="0">
                    <a:solidFill>
                      <a:schemeClr val="bg1"/>
                    </a:solidFill>
                    <a:latin typeface="+mj-ea"/>
                    <a:ea typeface="+mj-ea"/>
                    <a:cs typeface="ヒラギノ角ゴ Pro W3"/>
                  </a:rPr>
                  <a:t>丹佛斯授权服务站</a:t>
                </a:r>
                <a:endParaRPr lang="en-US" altLang="zh-CN" sz="1200" dirty="0">
                  <a:solidFill>
                    <a:schemeClr val="bg1"/>
                  </a:solidFill>
                  <a:latin typeface="+mj-ea"/>
                  <a:ea typeface="+mj-ea"/>
                  <a:cs typeface="ヒラギノ角ゴ Pro W3"/>
                </a:endParaRPr>
              </a:p>
            </p:txBody>
          </p:sp>
          <p:sp>
            <p:nvSpPr>
              <p:cNvPr id="99" name="AutoShape 50"/>
              <p:cNvSpPr>
                <a:spLocks noChangeArrowheads="1"/>
              </p:cNvSpPr>
              <p:nvPr/>
            </p:nvSpPr>
            <p:spPr bwMode="auto">
              <a:xfrm>
                <a:off x="521267" y="5164707"/>
                <a:ext cx="161925" cy="214313"/>
              </a:xfrm>
              <a:prstGeom prst="star4">
                <a:avLst>
                  <a:gd name="adj" fmla="val 12500"/>
                </a:avLst>
              </a:prstGeom>
              <a:solidFill>
                <a:srgbClr val="92D05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zh-CN" altLang="en-US">
                  <a:solidFill>
                    <a:schemeClr val="bg1"/>
                  </a:solidFill>
                  <a:latin typeface="+mj-ea"/>
                  <a:ea typeface="+mj-ea"/>
                </a:endParaRPr>
              </a:p>
            </p:txBody>
          </p:sp>
        </p:grpSp>
      </p:grpSp>
      <p:grpSp>
        <p:nvGrpSpPr>
          <p:cNvPr id="106" name="Group 105"/>
          <p:cNvGrpSpPr/>
          <p:nvPr/>
        </p:nvGrpSpPr>
        <p:grpSpPr>
          <a:xfrm>
            <a:off x="437894" y="1910696"/>
            <a:ext cx="2042243" cy="2945321"/>
            <a:chOff x="437894" y="2069620"/>
            <a:chExt cx="2042243" cy="3328655"/>
          </a:xfrm>
          <a:gradFill>
            <a:gsLst>
              <a:gs pos="0">
                <a:schemeClr val="accent1"/>
              </a:gs>
              <a:gs pos="67000">
                <a:schemeClr val="accent2"/>
              </a:gs>
              <a:gs pos="100000">
                <a:schemeClr val="accent1"/>
              </a:gs>
            </a:gsLst>
            <a:lin ang="1200000" scaled="0"/>
          </a:gradFill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7" name="Rectangle 106"/>
            <p:cNvSpPr/>
            <p:nvPr/>
          </p:nvSpPr>
          <p:spPr>
            <a:xfrm>
              <a:off x="437894" y="2069620"/>
              <a:ext cx="1873250" cy="3328655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tlCol="0" anchor="t" anchorCtr="0"/>
            <a:lstStyle/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altLang="zh-CN" sz="14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b="1" dirty="0">
                  <a:solidFill>
                    <a:srgbClr val="FFFFFF"/>
                  </a:solidFill>
                </a:rPr>
                <a:t>延长保修</a:t>
              </a:r>
              <a:endParaRPr lang="en-US" sz="12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b="1" dirty="0">
                  <a:solidFill>
                    <a:srgbClr val="FFFFFF"/>
                  </a:solidFill>
                </a:rPr>
                <a:t>备用配件</a:t>
              </a:r>
              <a:endParaRPr lang="en-US" sz="12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b="1" dirty="0">
                  <a:solidFill>
                    <a:srgbClr val="FFFFFF"/>
                  </a:solidFill>
                </a:rPr>
                <a:t>交互</a:t>
              </a:r>
              <a:endParaRPr lang="en-US" sz="12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b="1" dirty="0">
                  <a:solidFill>
                    <a:srgbClr val="FFFFFF"/>
                  </a:solidFill>
                </a:rPr>
                <a:t>预防性维修</a:t>
              </a:r>
              <a:endParaRPr lang="en-US" sz="12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b="1" dirty="0">
                  <a:solidFill>
                    <a:srgbClr val="FFFFFF"/>
                  </a:solidFill>
                </a:rPr>
                <a:t>改造</a:t>
              </a:r>
              <a:endParaRPr lang="en-US" altLang="zh-CN" sz="12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b="1" dirty="0">
                  <a:solidFill>
                    <a:srgbClr val="FFFFFF"/>
                  </a:solidFill>
                </a:rPr>
                <a:t>升级</a:t>
              </a:r>
              <a:endParaRPr lang="en-US" sz="12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b="1" dirty="0">
                  <a:solidFill>
                    <a:srgbClr val="FFFFFF"/>
                  </a:solidFill>
                </a:rPr>
                <a:t>开机</a:t>
              </a:r>
              <a:endParaRPr lang="en-US" sz="12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b="1" dirty="0">
                  <a:solidFill>
                    <a:srgbClr val="FFFFFF"/>
                  </a:solidFill>
                </a:rPr>
                <a:t>远程专家支持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08" name="Isosceles Triangle 107"/>
            <p:cNvSpPr/>
            <p:nvPr/>
          </p:nvSpPr>
          <p:spPr>
            <a:xfrm rot="5400000">
              <a:off x="2248571" y="3487240"/>
              <a:ext cx="294139" cy="168993"/>
            </a:xfrm>
            <a:prstGeom prst="triangle">
              <a:avLst>
                <a:gd name="adj" fmla="val 52747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noProof="0" dirty="0" err="1"/>
            </a:p>
          </p:txBody>
        </p:sp>
      </p:grpSp>
      <p:sp>
        <p:nvSpPr>
          <p:cNvPr id="109" name="Rectangle 108"/>
          <p:cNvSpPr/>
          <p:nvPr/>
        </p:nvSpPr>
        <p:spPr>
          <a:xfrm>
            <a:off x="437894" y="1065424"/>
            <a:ext cx="1873250" cy="710004"/>
          </a:xfrm>
          <a:prstGeom prst="rect">
            <a:avLst/>
          </a:prstGeom>
          <a:gradFill>
            <a:gsLst>
              <a:gs pos="0">
                <a:schemeClr val="accent1"/>
              </a:gs>
              <a:gs pos="67000">
                <a:schemeClr val="accent2"/>
              </a:gs>
              <a:gs pos="100000">
                <a:schemeClr val="accent1"/>
              </a:gs>
            </a:gsLst>
            <a:lin ang="0" scaled="0"/>
          </a:gradFill>
          <a:ln w="9525"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200" b="1" dirty="0"/>
              <a:t>DrivePro</a:t>
            </a:r>
            <a:r>
              <a:rPr lang="en-GB" sz="2200" b="1" baseline="30000" dirty="0">
                <a:solidFill>
                  <a:schemeClr val="bg1"/>
                </a:solidFill>
              </a:rPr>
              <a:t>®</a:t>
            </a:r>
            <a:r>
              <a:rPr lang="fi-FI" sz="2200" b="1" dirty="0"/>
              <a:t> </a:t>
            </a:r>
            <a:endParaRPr lang="fi-FI" sz="2200" dirty="0"/>
          </a:p>
        </p:txBody>
      </p:sp>
    </p:spTree>
    <p:extLst>
      <p:ext uri="{BB962C8B-B14F-4D97-AF65-F5344CB8AC3E}">
        <p14:creationId xmlns:p14="http://schemas.microsoft.com/office/powerpoint/2010/main" val="13111449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435926" y="1719868"/>
            <a:ext cx="5581073" cy="128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500" b="1" kern="0" dirty="0">
                <a:solidFill>
                  <a:srgbClr val="0049A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减少大气污染和降低二氧化碳排放的挑战</a:t>
            </a:r>
          </a:p>
          <a:p>
            <a:pPr marL="360000" indent="-360000">
              <a:lnSpc>
                <a:spcPct val="120000"/>
              </a:lnSpc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承诺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实现二氧化碳排放强度与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5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相比降低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-45%</a:t>
            </a:r>
            <a:endParaRPr lang="en-US" sz="1300" b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60000" indent="-360000">
              <a:lnSpc>
                <a:spcPct val="120000"/>
              </a:lnSpc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5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煤炭消耗量占一次能源消耗量的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4.0%</a:t>
            </a:r>
          </a:p>
          <a:p>
            <a:pPr marL="360000" indent="-360000">
              <a:lnSpc>
                <a:spcPct val="120000"/>
              </a:lnSpc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平均每平方米供热面积能耗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千克标煤，是欧洲同样能耗的两倍</a:t>
            </a:r>
            <a:endParaRPr lang="en-US" sz="1300" b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60000" indent="-360000">
              <a:lnSpc>
                <a:spcPct val="120000"/>
              </a:lnSpc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供暖季空气质量指数显著偏高</a:t>
            </a:r>
            <a:endParaRPr lang="en-US" sz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435926" y="3193299"/>
            <a:ext cx="5163834" cy="803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500" b="1" kern="0" dirty="0">
                <a:solidFill>
                  <a:srgbClr val="0049A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可持续化城市发展“加温”</a:t>
            </a:r>
            <a:endParaRPr lang="en-GB" altLang="en-US" sz="1500" b="1" kern="0" dirty="0">
              <a:solidFill>
                <a:srgbClr val="0049A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60000" indent="-360000">
              <a:lnSpc>
                <a:spcPct val="120000"/>
              </a:lnSpc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可再生能源和余热</a:t>
            </a:r>
            <a:endParaRPr lang="en-US" altLang="zh-CN" sz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60000" indent="-360000">
              <a:lnSpc>
                <a:spcPct val="120000"/>
              </a:lnSpc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高的管网输送效率</a:t>
            </a:r>
            <a:endParaRPr lang="en-US" sz="1300" b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427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25882"/>
            <a:ext cx="3240000" cy="5368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278" name="Picture 12" descr="PL08group (ECL cards)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7353" y="4635928"/>
            <a:ext cx="1268413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4281" name="Group 1"/>
          <p:cNvGrpSpPr>
            <a:grpSpLocks/>
          </p:cNvGrpSpPr>
          <p:nvPr/>
        </p:nvGrpSpPr>
        <p:grpSpPr bwMode="auto">
          <a:xfrm>
            <a:off x="2537277" y="546451"/>
            <a:ext cx="763588" cy="654050"/>
            <a:chOff x="7206899" y="3620828"/>
            <a:chExt cx="763705" cy="654368"/>
          </a:xfrm>
        </p:grpSpPr>
        <p:sp>
          <p:nvSpPr>
            <p:cNvPr id="12" name="Oval 132"/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gray">
            <a:xfrm rot="2816842">
              <a:off x="7261568" y="3628082"/>
              <a:ext cx="654368" cy="639860"/>
            </a:xfrm>
            <a:prstGeom prst="ellipse">
              <a:avLst/>
            </a:prstGeom>
            <a:solidFill>
              <a:srgbClr val="FF0000"/>
            </a:solidFill>
            <a:ln w="38100" algn="ctr">
              <a:solidFill>
                <a:schemeClr val="bg1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1"/>
            <a:lstStyle/>
            <a:p>
              <a:pPr algn="ctr">
                <a:lnSpc>
                  <a:spcPts val="1200"/>
                </a:lnSpc>
                <a:spcBef>
                  <a:spcPts val="0"/>
                </a:spcBef>
                <a:defRPr/>
              </a:pPr>
              <a:endParaRPr lang="en-US" sz="105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Rectangle 31"/>
            <p:cNvSpPr>
              <a:spLocks noChangeArrowheads="1"/>
            </p:cNvSpPr>
            <p:nvPr/>
          </p:nvSpPr>
          <p:spPr bwMode="auto">
            <a:xfrm>
              <a:off x="7206899" y="3683581"/>
              <a:ext cx="763705" cy="528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533400" eaLnBrk="0" hangingPunct="0">
                <a:defRPr sz="1600" b="1">
                  <a:solidFill>
                    <a:srgbClr val="FF3300"/>
                  </a:solidFill>
                  <a:latin typeface="Verdana" pitchFamily="34" charset="0"/>
                  <a:ea typeface="黑体" pitchFamily="49" charset="-122"/>
                </a:defRPr>
              </a:lvl1pPr>
              <a:lvl2pPr marL="742950" indent="-285750" defTabSz="533400" eaLnBrk="0" hangingPunct="0">
                <a:defRPr sz="1600" b="1">
                  <a:solidFill>
                    <a:srgbClr val="FF3300"/>
                  </a:solidFill>
                  <a:latin typeface="Verdana" pitchFamily="34" charset="0"/>
                  <a:ea typeface="黑体" pitchFamily="49" charset="-122"/>
                </a:defRPr>
              </a:lvl2pPr>
              <a:lvl3pPr marL="1143000" indent="-228600" defTabSz="533400" eaLnBrk="0" hangingPunct="0">
                <a:defRPr sz="1600" b="1">
                  <a:solidFill>
                    <a:srgbClr val="FF3300"/>
                  </a:solidFill>
                  <a:latin typeface="Verdana" pitchFamily="34" charset="0"/>
                  <a:ea typeface="黑体" pitchFamily="49" charset="-122"/>
                </a:defRPr>
              </a:lvl3pPr>
              <a:lvl4pPr marL="1600200" indent="-228600" defTabSz="533400" eaLnBrk="0" hangingPunct="0">
                <a:defRPr sz="1600" b="1">
                  <a:solidFill>
                    <a:srgbClr val="FF3300"/>
                  </a:solidFill>
                  <a:latin typeface="Verdana" pitchFamily="34" charset="0"/>
                  <a:ea typeface="黑体" pitchFamily="49" charset="-122"/>
                </a:defRPr>
              </a:lvl4pPr>
              <a:lvl5pPr marL="2057400" indent="-228600" defTabSz="533400" eaLnBrk="0" hangingPunct="0">
                <a:defRPr sz="1600" b="1">
                  <a:solidFill>
                    <a:srgbClr val="FF3300"/>
                  </a:solidFill>
                  <a:latin typeface="Verdana" pitchFamily="34" charset="0"/>
                  <a:ea typeface="黑体" pitchFamily="49" charset="-122"/>
                </a:defRPr>
              </a:lvl5pPr>
              <a:lvl6pPr marL="2514600" indent="-228600" defTabSz="5334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rgbClr val="FF3300"/>
                  </a:solidFill>
                  <a:latin typeface="Verdana" pitchFamily="34" charset="0"/>
                  <a:ea typeface="黑体" pitchFamily="49" charset="-122"/>
                </a:defRPr>
              </a:lvl6pPr>
              <a:lvl7pPr marL="2971800" indent="-228600" defTabSz="5334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rgbClr val="FF3300"/>
                  </a:solidFill>
                  <a:latin typeface="Verdana" pitchFamily="34" charset="0"/>
                  <a:ea typeface="黑体" pitchFamily="49" charset="-122"/>
                </a:defRPr>
              </a:lvl7pPr>
              <a:lvl8pPr marL="3429000" indent="-228600" defTabSz="5334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rgbClr val="FF3300"/>
                  </a:solidFill>
                  <a:latin typeface="Verdana" pitchFamily="34" charset="0"/>
                  <a:ea typeface="黑体" pitchFamily="49" charset="-122"/>
                </a:defRPr>
              </a:lvl8pPr>
              <a:lvl9pPr marL="3886200" indent="-228600" defTabSz="533400" eaLnBrk="0" fontAlgn="base" hangingPunct="0">
                <a:spcBef>
                  <a:spcPct val="0"/>
                </a:spcBef>
                <a:spcAft>
                  <a:spcPct val="0"/>
                </a:spcAft>
                <a:defRPr sz="1600" b="1">
                  <a:solidFill>
                    <a:srgbClr val="FF3300"/>
                  </a:solidFill>
                  <a:latin typeface="Verdana" pitchFamily="34" charset="0"/>
                  <a:ea typeface="黑体" pitchFamily="49" charset="-122"/>
                </a:defRPr>
              </a:lvl9pPr>
            </a:lstStyle>
            <a:p>
              <a:pPr algn="ctr" eaLnBrk="1" hangingPunct="1">
                <a:lnSpc>
                  <a:spcPct val="90000"/>
                </a:lnSpc>
                <a:defRPr/>
              </a:pPr>
              <a:r>
                <a:rPr lang="en-US" altLang="zh-CN" sz="105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Hot Chain</a:t>
              </a:r>
            </a:p>
            <a:p>
              <a:pPr algn="ctr" eaLnBrk="1" hangingPunct="1">
                <a:lnSpc>
                  <a:spcPct val="90000"/>
                </a:lnSpc>
                <a:defRPr/>
              </a:pPr>
              <a:r>
                <a:rPr lang="zh-CN" altLang="en-US" sz="105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热链</a:t>
              </a:r>
              <a:endParaRPr lang="en-US" altLang="zh-CN" sz="105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4" name="Title 1"/>
          <p:cNvSpPr txBox="1">
            <a:spLocks/>
          </p:cNvSpPr>
          <p:nvPr/>
        </p:nvSpPr>
        <p:spPr>
          <a:xfrm>
            <a:off x="3408214" y="596103"/>
            <a:ext cx="5708074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们帮助治理雾霾</a:t>
            </a:r>
          </a:p>
        </p:txBody>
      </p:sp>
      <p:sp>
        <p:nvSpPr>
          <p:cNvPr id="2" name="Rectangle 1"/>
          <p:cNvSpPr/>
          <p:nvPr/>
        </p:nvSpPr>
        <p:spPr>
          <a:xfrm>
            <a:off x="7506585" y="4655818"/>
            <a:ext cx="1093175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dirty="0"/>
              <a:t>样板城市：</a:t>
            </a:r>
            <a:endParaRPr lang="en-US" altLang="zh-CN" sz="1400" b="1" dirty="0"/>
          </a:p>
          <a:p>
            <a:r>
              <a:rPr lang="zh-CN" altLang="en-US" sz="1200" dirty="0"/>
              <a:t>北京</a:t>
            </a:r>
            <a:endParaRPr lang="en-US" altLang="zh-CN" sz="1200" dirty="0"/>
          </a:p>
          <a:p>
            <a:r>
              <a:rPr lang="zh-CN" altLang="en-US" sz="1200" dirty="0"/>
              <a:t>西安</a:t>
            </a:r>
            <a:endParaRPr lang="en-US" altLang="zh-CN" sz="1200" dirty="0"/>
          </a:p>
          <a:p>
            <a:r>
              <a:rPr lang="zh-CN" altLang="en-US" sz="1200" dirty="0"/>
              <a:t>长春</a:t>
            </a:r>
            <a:endParaRPr lang="en-US" altLang="zh-CN" sz="1200" dirty="0"/>
          </a:p>
          <a:p>
            <a:r>
              <a:rPr lang="zh-CN" altLang="en-US" sz="1200" dirty="0"/>
              <a:t>鞍山</a:t>
            </a:r>
            <a:endParaRPr lang="en-US" altLang="zh-CN" sz="1200" dirty="0"/>
          </a:p>
          <a:p>
            <a:r>
              <a:rPr lang="zh-CN" altLang="en-US" sz="1200" dirty="0"/>
              <a:t>本溪</a:t>
            </a:r>
          </a:p>
        </p:txBody>
      </p:sp>
      <p:pic>
        <p:nvPicPr>
          <p:cNvPr id="4098" name="Picture 2" descr="C:\@Kang' Doc\产品图片\2226_HVAC_Basic_group_f-small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5766" y="4437583"/>
            <a:ext cx="1977334" cy="1599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17097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/>
        </p:nvSpPr>
        <p:spPr>
          <a:xfrm>
            <a:off x="3359576" y="1199993"/>
            <a:ext cx="5453061" cy="13988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1500" b="1" kern="0" dirty="0">
                <a:solidFill>
                  <a:srgbClr val="0049A8"/>
                </a:solidFill>
                <a:latin typeface="+mn-ea"/>
              </a:rPr>
              <a:t>可持续的城镇化</a:t>
            </a:r>
            <a:endParaRPr lang="en-GB" altLang="en-US" sz="1500" b="1" kern="0" dirty="0">
              <a:solidFill>
                <a:srgbClr val="0049A8"/>
              </a:solidFill>
              <a:latin typeface="+mn-ea"/>
            </a:endParaRPr>
          </a:p>
          <a:p>
            <a:pPr marL="360000" indent="-360000">
              <a:lnSpc>
                <a:spcPct val="120000"/>
              </a:lnSpc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+mn-ea"/>
              </a:rPr>
              <a:t>每年新增建筑面积达到</a:t>
            </a:r>
            <a:r>
              <a:rPr lang="en-US" altLang="zh-CN" sz="1300" dirty="0">
                <a:solidFill>
                  <a:srgbClr val="000000"/>
                </a:solidFill>
                <a:latin typeface="+mn-ea"/>
              </a:rPr>
              <a:t>20</a:t>
            </a:r>
            <a:r>
              <a:rPr lang="zh-CN" altLang="en-US" sz="1300" dirty="0">
                <a:solidFill>
                  <a:srgbClr val="000000"/>
                </a:solidFill>
                <a:latin typeface="+mn-ea"/>
              </a:rPr>
              <a:t>亿平方米</a:t>
            </a:r>
            <a:endParaRPr lang="en-US" sz="1300" b="0" dirty="0">
              <a:solidFill>
                <a:srgbClr val="000000"/>
              </a:solidFill>
              <a:latin typeface="+mn-ea"/>
            </a:endParaRPr>
          </a:p>
          <a:p>
            <a:pPr marL="360000" indent="-360000">
              <a:lnSpc>
                <a:spcPct val="120000"/>
              </a:lnSpc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+mn-ea"/>
              </a:rPr>
              <a:t>建筑能源消耗占全社会总能耗的</a:t>
            </a:r>
            <a:r>
              <a:rPr lang="en-US" altLang="zh-CN" sz="1300" dirty="0">
                <a:solidFill>
                  <a:srgbClr val="000000"/>
                </a:solidFill>
                <a:latin typeface="+mn-ea"/>
              </a:rPr>
              <a:t>30%</a:t>
            </a:r>
            <a:endParaRPr lang="en-US" sz="1300" b="0" dirty="0">
              <a:solidFill>
                <a:srgbClr val="000000"/>
              </a:solidFill>
              <a:latin typeface="+mn-ea"/>
            </a:endParaRPr>
          </a:p>
          <a:p>
            <a:pPr marL="360000" indent="-360000">
              <a:lnSpc>
                <a:spcPct val="120000"/>
              </a:lnSpc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+mn-ea"/>
              </a:rPr>
              <a:t>暖通空调系统能耗占建筑能耗的</a:t>
            </a:r>
            <a:r>
              <a:rPr lang="en-US" altLang="zh-CN" sz="1300" dirty="0">
                <a:solidFill>
                  <a:srgbClr val="000000"/>
                </a:solidFill>
                <a:latin typeface="+mn-ea"/>
              </a:rPr>
              <a:t>1/3</a:t>
            </a:r>
            <a:endParaRPr lang="en-US" sz="1300" dirty="0">
              <a:solidFill>
                <a:srgbClr val="000000"/>
              </a:solidFill>
              <a:latin typeface="+mn-ea"/>
            </a:endParaRPr>
          </a:p>
          <a:p>
            <a:pPr marL="360000" indent="-360000">
              <a:lnSpc>
                <a:spcPct val="120000"/>
              </a:lnSpc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+mn-ea"/>
              </a:rPr>
              <a:t>十二五期间实现绿色建筑近</a:t>
            </a:r>
            <a:r>
              <a:rPr lang="en-US" altLang="zh-CN" sz="1300" dirty="0">
                <a:solidFill>
                  <a:srgbClr val="000000"/>
                </a:solidFill>
                <a:latin typeface="+mn-ea"/>
              </a:rPr>
              <a:t>5</a:t>
            </a:r>
            <a:r>
              <a:rPr lang="zh-CN" altLang="en-US" sz="1300" dirty="0">
                <a:solidFill>
                  <a:srgbClr val="000000"/>
                </a:solidFill>
                <a:latin typeface="+mn-ea"/>
              </a:rPr>
              <a:t>亿平方米</a:t>
            </a:r>
            <a:endParaRPr lang="en-US" sz="13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359577" y="2729801"/>
            <a:ext cx="5453061" cy="955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1500" b="1" kern="0" dirty="0">
                <a:solidFill>
                  <a:srgbClr val="0049A8"/>
                </a:solidFill>
                <a:latin typeface="+mn-ea"/>
              </a:rPr>
              <a:t>舒适绿色生活</a:t>
            </a:r>
            <a:endParaRPr lang="en-GB" altLang="en-US" sz="1500" b="1" kern="0" dirty="0">
              <a:solidFill>
                <a:srgbClr val="0049A8"/>
              </a:solidFill>
              <a:latin typeface="+mn-ea"/>
            </a:endParaRPr>
          </a:p>
          <a:p>
            <a:pPr marL="360000" lvl="1">
              <a:lnSpc>
                <a:spcPct val="120000"/>
              </a:lnSpc>
              <a:buClr>
                <a:srgbClr val="808080"/>
              </a:buClr>
              <a:defRPr/>
            </a:pPr>
            <a:r>
              <a:rPr lang="zh-CN" altLang="en-US" sz="1400" dirty="0">
                <a:solidFill>
                  <a:srgbClr val="000000"/>
                </a:solidFill>
                <a:latin typeface="+mn-ea"/>
              </a:rPr>
              <a:t>超过</a:t>
            </a:r>
            <a:r>
              <a:rPr lang="en-US" altLang="zh-CN" sz="1400" dirty="0">
                <a:solidFill>
                  <a:srgbClr val="000000"/>
                </a:solidFill>
                <a:latin typeface="+mn-ea"/>
              </a:rPr>
              <a:t>6700</a:t>
            </a:r>
            <a:r>
              <a:rPr lang="zh-CN" altLang="en-US" sz="1400" dirty="0">
                <a:solidFill>
                  <a:srgbClr val="000000"/>
                </a:solidFill>
                <a:latin typeface="+mn-ea"/>
              </a:rPr>
              <a:t>个动态压差平衡型电动调节阀以及</a:t>
            </a:r>
            <a:r>
              <a:rPr lang="en-US" altLang="zh-CN" sz="1400" dirty="0">
                <a:solidFill>
                  <a:srgbClr val="000000"/>
                </a:solidFill>
                <a:latin typeface="+mn-ea"/>
              </a:rPr>
              <a:t>700</a:t>
            </a:r>
            <a:r>
              <a:rPr lang="zh-CN" altLang="en-US" sz="1400" dirty="0">
                <a:solidFill>
                  <a:srgbClr val="000000"/>
                </a:solidFill>
                <a:latin typeface="+mn-ea"/>
              </a:rPr>
              <a:t>台变频器应用于中国目前最高建筑的暖通系统中</a:t>
            </a:r>
            <a:endParaRPr lang="en-US" altLang="zh-CN" sz="1400" dirty="0">
              <a:solidFill>
                <a:srgbClr val="000000"/>
              </a:solidFill>
              <a:latin typeface="+mn-ea"/>
            </a:endParaRPr>
          </a:p>
        </p:txBody>
      </p:sp>
      <p:pic>
        <p:nvPicPr>
          <p:cNvPr id="55300" name="Picture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" y="0"/>
            <a:ext cx="3162699" cy="6395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5302" name="Group 7"/>
          <p:cNvGrpSpPr>
            <a:grpSpLocks/>
          </p:cNvGrpSpPr>
          <p:nvPr/>
        </p:nvGrpSpPr>
        <p:grpSpPr bwMode="auto">
          <a:xfrm>
            <a:off x="5393061" y="4472131"/>
            <a:ext cx="2877641" cy="1485331"/>
            <a:chOff x="6692211" y="5165402"/>
            <a:chExt cx="2243426" cy="1216348"/>
          </a:xfrm>
        </p:grpSpPr>
        <p:pic>
          <p:nvPicPr>
            <p:cNvPr id="55313" name="Picture 11" descr="FC300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11767" y="5251450"/>
              <a:ext cx="755650" cy="1130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14" name="Picture 4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2587" t="7469" r="8092" b="7437"/>
            <a:stretch>
              <a:fillRect/>
            </a:stretch>
          </p:blipFill>
          <p:spPr bwMode="auto">
            <a:xfrm>
              <a:off x="8412024" y="5441130"/>
              <a:ext cx="523613" cy="8525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5315" name="Picture 6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2211" y="5165402"/>
              <a:ext cx="741211" cy="10414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316" name="Picture 5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5318" y="5675232"/>
              <a:ext cx="414200" cy="5904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5304" name="Group 1"/>
          <p:cNvGrpSpPr>
            <a:grpSpLocks/>
          </p:cNvGrpSpPr>
          <p:nvPr/>
        </p:nvGrpSpPr>
        <p:grpSpPr bwMode="auto">
          <a:xfrm>
            <a:off x="2411694" y="271613"/>
            <a:ext cx="806450" cy="652463"/>
            <a:chOff x="6826766" y="2090066"/>
            <a:chExt cx="805838" cy="653653"/>
          </a:xfrm>
        </p:grpSpPr>
        <p:sp>
          <p:nvSpPr>
            <p:cNvPr id="21" name="Oval 132"/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gray">
            <a:xfrm rot="2816842">
              <a:off x="6891754" y="2098047"/>
              <a:ext cx="653653" cy="637691"/>
            </a:xfrm>
            <a:prstGeom prst="ellipse">
              <a:avLst/>
            </a:prstGeom>
            <a:solidFill>
              <a:srgbClr val="00B050"/>
            </a:solidFill>
            <a:ln w="38100" algn="ctr">
              <a:solidFill>
                <a:schemeClr val="bg1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1"/>
            <a:lstStyle/>
            <a:p>
              <a:pPr algn="ctr">
                <a:lnSpc>
                  <a:spcPts val="1200"/>
                </a:lnSpc>
                <a:spcBef>
                  <a:spcPts val="0"/>
                </a:spcBef>
                <a:defRPr/>
              </a:pPr>
              <a:endParaRPr lang="en-US" sz="1050" dirty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55307" name="Rectangle 28"/>
            <p:cNvSpPr>
              <a:spLocks noChangeArrowheads="1"/>
            </p:cNvSpPr>
            <p:nvPr/>
          </p:nvSpPr>
          <p:spPr bwMode="auto">
            <a:xfrm>
              <a:off x="6826766" y="2140212"/>
              <a:ext cx="805838" cy="5087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spcBef>
                  <a:spcPts val="763"/>
                </a:spcBef>
                <a:buClr>
                  <a:srgbClr val="808080"/>
                </a:buClr>
                <a:buFont typeface="Wingdings" pitchFamily="2" charset="2"/>
                <a:buChar char=""/>
                <a:defRPr sz="16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1pPr>
              <a:lvl2pPr marL="742950" indent="-285750" eaLnBrk="0" hangingPunct="0">
                <a:spcBef>
                  <a:spcPct val="40000"/>
                </a:spcBef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2pPr>
              <a:lvl3pPr marL="1143000" indent="-228600" eaLnBrk="0" hangingPunct="0">
                <a:spcBef>
                  <a:spcPct val="40000"/>
                </a:spcBef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3pPr>
              <a:lvl4pPr marL="1600200" indent="-228600" eaLnBrk="0" hangingPunct="0">
                <a:spcBef>
                  <a:spcPct val="40000"/>
                </a:spcBef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4pPr>
              <a:lvl5pPr marL="2057400" indent="-228600" eaLnBrk="0" hangingPunct="0">
                <a:spcBef>
                  <a:spcPct val="40000"/>
                </a:spcBef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5pPr>
              <a:lvl6pPr marL="25146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6pPr>
              <a:lvl7pPr marL="29718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7pPr>
              <a:lvl8pPr marL="34290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8pPr>
              <a:lvl9pPr marL="38862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zh-CN" sz="900" b="1" dirty="0">
                  <a:solidFill>
                    <a:srgbClr val="FFFFFF"/>
                  </a:solidFill>
                  <a:latin typeface="+mn-ea"/>
                  <a:ea typeface="+mn-ea"/>
                </a:rPr>
                <a:t>Green Building</a:t>
              </a:r>
            </a:p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900" b="1" dirty="0">
                  <a:solidFill>
                    <a:srgbClr val="FFFFFF"/>
                  </a:solidFill>
                  <a:latin typeface="+mn-ea"/>
                  <a:ea typeface="+mn-ea"/>
                </a:rPr>
                <a:t>绿色建筑</a:t>
              </a:r>
              <a:endParaRPr lang="en-US" altLang="en-US" sz="900" b="1" dirty="0">
                <a:solidFill>
                  <a:srgbClr val="FFFFFF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23" name="Title 1"/>
          <p:cNvSpPr txBox="1">
            <a:spLocks/>
          </p:cNvSpPr>
          <p:nvPr/>
        </p:nvSpPr>
        <p:spPr>
          <a:xfrm>
            <a:off x="3273536" y="295275"/>
            <a:ext cx="6119849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latin typeface="+mn-ea"/>
                <a:ea typeface="+mn-ea"/>
              </a:rPr>
              <a:t>我们帮助实现绿色建筑</a:t>
            </a:r>
          </a:p>
        </p:txBody>
      </p:sp>
      <p:sp>
        <p:nvSpPr>
          <p:cNvPr id="3" name="Rectangle 2"/>
          <p:cNvSpPr/>
          <p:nvPr/>
        </p:nvSpPr>
        <p:spPr>
          <a:xfrm>
            <a:off x="211645" y="2909587"/>
            <a:ext cx="1800000" cy="1800000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 err="1"/>
          </a:p>
        </p:txBody>
      </p:sp>
      <p:grpSp>
        <p:nvGrpSpPr>
          <p:cNvPr id="24" name="Group 23"/>
          <p:cNvGrpSpPr/>
          <p:nvPr/>
        </p:nvGrpSpPr>
        <p:grpSpPr>
          <a:xfrm>
            <a:off x="211645" y="2909587"/>
            <a:ext cx="1800000" cy="1800000"/>
            <a:chOff x="487656" y="2088206"/>
            <a:chExt cx="1800000" cy="1800000"/>
          </a:xfrm>
        </p:grpSpPr>
        <p:sp>
          <p:nvSpPr>
            <p:cNvPr id="25" name="Rectangle 24"/>
            <p:cNvSpPr/>
            <p:nvPr/>
          </p:nvSpPr>
          <p:spPr>
            <a:xfrm>
              <a:off x="487656" y="2088206"/>
              <a:ext cx="1800000" cy="1800000"/>
            </a:xfrm>
            <a:prstGeom prst="rect">
              <a:avLst/>
            </a:prstGeom>
            <a:noFill/>
            <a:ln w="76200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36661" y="2144222"/>
              <a:ext cx="1470996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/>
            <a:p>
              <a:r>
                <a:rPr lang="en-US" altLang="zh-CN" sz="4000" b="1" dirty="0">
                  <a:solidFill>
                    <a:schemeClr val="accent2"/>
                  </a:solidFill>
                </a:rPr>
                <a:t>54%</a:t>
              </a:r>
              <a:endParaRPr lang="en-GB" sz="4000" b="1" dirty="0">
                <a:solidFill>
                  <a:schemeClr val="accent2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67657" y="2815226"/>
              <a:ext cx="143999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zh-CN" altLang="en-US" sz="1200" dirty="0">
                  <a:solidFill>
                    <a:schemeClr val="accent2"/>
                  </a:solidFill>
                  <a:latin typeface="+mj-lt"/>
                  <a:ea typeface="Simhei" panose="02010609060101010101" pitchFamily="49" charset="-122"/>
                </a:rPr>
                <a:t>通过丹佛斯变频器和调节阀降低上海中心的能耗水平</a:t>
              </a:r>
              <a:endParaRPr lang="en-US" altLang="zh-CN" sz="1200" dirty="0">
                <a:solidFill>
                  <a:schemeClr val="accent2"/>
                </a:solidFill>
                <a:latin typeface="+mj-lt"/>
                <a:ea typeface="Simhei" panose="02010609060101010101" pitchFamily="49" charset="-122"/>
              </a:endParaRPr>
            </a:p>
          </p:txBody>
        </p:sp>
      </p:grpSp>
      <p:sp>
        <p:nvSpPr>
          <p:cNvPr id="5" name="Rectangle 4"/>
          <p:cNvSpPr/>
          <p:nvPr/>
        </p:nvSpPr>
        <p:spPr>
          <a:xfrm>
            <a:off x="3784879" y="4559937"/>
            <a:ext cx="2169353" cy="12372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400" b="1" dirty="0"/>
              <a:t>项目足迹：</a:t>
            </a:r>
            <a:endParaRPr lang="en-US" sz="1400" b="1" dirty="0"/>
          </a:p>
          <a:p>
            <a:pPr>
              <a:lnSpc>
                <a:spcPct val="120000"/>
              </a:lnSpc>
            </a:pPr>
            <a:r>
              <a:rPr lang="en-US" sz="1200" dirty="0"/>
              <a:t>CCTV</a:t>
            </a:r>
            <a:r>
              <a:rPr lang="zh-CN" altLang="en-US" sz="1200" dirty="0"/>
              <a:t>中央电视台 </a:t>
            </a:r>
          </a:p>
          <a:p>
            <a:pPr>
              <a:lnSpc>
                <a:spcPct val="120000"/>
              </a:lnSpc>
            </a:pPr>
            <a:r>
              <a:rPr lang="zh-CN" altLang="en-US" sz="1200" dirty="0"/>
              <a:t>金茂大厦</a:t>
            </a:r>
          </a:p>
          <a:p>
            <a:pPr>
              <a:lnSpc>
                <a:spcPct val="120000"/>
              </a:lnSpc>
            </a:pPr>
            <a:r>
              <a:rPr lang="zh-CN" altLang="en-US" sz="1200" dirty="0"/>
              <a:t>国家大剧院</a:t>
            </a:r>
          </a:p>
          <a:p>
            <a:pPr>
              <a:lnSpc>
                <a:spcPct val="120000"/>
              </a:lnSpc>
            </a:pPr>
            <a:r>
              <a:rPr lang="zh-CN" altLang="en-US" sz="1200" dirty="0"/>
              <a:t>上海虹桥枢纽</a:t>
            </a:r>
          </a:p>
        </p:txBody>
      </p:sp>
    </p:spTree>
    <p:extLst>
      <p:ext uri="{BB962C8B-B14F-4D97-AF65-F5344CB8AC3E}">
        <p14:creationId xmlns:p14="http://schemas.microsoft.com/office/powerpoint/2010/main" val="17197158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6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20" r="33466"/>
          <a:stretch>
            <a:fillRect/>
          </a:stretch>
        </p:blipFill>
        <p:spPr bwMode="auto">
          <a:xfrm>
            <a:off x="0" y="1"/>
            <a:ext cx="3408241" cy="64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48" name="Picture 1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6343" y="4162946"/>
            <a:ext cx="2127250" cy="163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Rectangle 32"/>
          <p:cNvSpPr/>
          <p:nvPr/>
        </p:nvSpPr>
        <p:spPr>
          <a:xfrm>
            <a:off x="3726907" y="1209940"/>
            <a:ext cx="5417094" cy="128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500" b="1" kern="0" dirty="0">
                <a:solidFill>
                  <a:srgbClr val="0049A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技术基础设施</a:t>
            </a:r>
            <a:r>
              <a:rPr lang="en-US" altLang="zh-CN" sz="1500" b="1" kern="0" dirty="0">
                <a:solidFill>
                  <a:srgbClr val="0049A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—</a:t>
            </a:r>
            <a:r>
              <a:rPr lang="zh-CN" altLang="en-US" sz="1500" b="1" kern="0" dirty="0">
                <a:solidFill>
                  <a:srgbClr val="0049A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中心</a:t>
            </a:r>
            <a:endParaRPr lang="en-GB" altLang="en-US" sz="1500" b="1" kern="0" dirty="0">
              <a:solidFill>
                <a:srgbClr val="0049A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60000" indent="-360000">
              <a:lnSpc>
                <a:spcPct val="12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耗能行业排名</a:t>
            </a:r>
            <a:r>
              <a:rPr lang="zh-CN" altLang="en-US" sz="13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五</a:t>
            </a:r>
          </a:p>
          <a:p>
            <a:pPr marL="360000" indent="-360000">
              <a:lnSpc>
                <a:spcPct val="12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占国家电力消耗的</a:t>
            </a:r>
            <a:r>
              <a:rPr lang="en-US" altLang="zh-CN" sz="13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%</a:t>
            </a:r>
          </a:p>
          <a:p>
            <a:pPr marL="360000" indent="-360000">
              <a:lnSpc>
                <a:spcPct val="12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电费支付占运行成本的</a:t>
            </a:r>
            <a:r>
              <a:rPr lang="en-US" altLang="zh-CN" sz="13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/3</a:t>
            </a:r>
          </a:p>
          <a:p>
            <a:pPr marL="360000" indent="-360000">
              <a:lnSpc>
                <a:spcPct val="120000"/>
              </a:lnSpc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空调耗电占总体耗电量的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% </a:t>
            </a:r>
            <a:endParaRPr lang="en-US" sz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722563" y="2696341"/>
            <a:ext cx="5417094" cy="803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zh-CN" altLang="en-US" sz="1500" b="1" kern="0" dirty="0">
                <a:solidFill>
                  <a:srgbClr val="0049A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丹佛斯变频控制压缩机为数据中心“降温”</a:t>
            </a:r>
            <a:endParaRPr lang="en-GB" altLang="en-US" sz="1500" b="1" kern="0" dirty="0">
              <a:solidFill>
                <a:srgbClr val="0049A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60000" indent="-360000">
              <a:lnSpc>
                <a:spcPct val="12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确平稳的温度与湿度控制</a:t>
            </a:r>
            <a:endParaRPr lang="en-US" altLang="zh-CN" sz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60000" indent="-360000">
              <a:lnSpc>
                <a:spcPct val="12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节能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2%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投资回报</a:t>
            </a:r>
            <a:r>
              <a:rPr lang="en-US" altLang="zh-CN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5</a:t>
            </a:r>
            <a:r>
              <a:rPr lang="zh-CN" altLang="en-US" sz="13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lang="en-US" altLang="zh-CN" sz="13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7356" name="Group 21"/>
          <p:cNvGrpSpPr>
            <a:grpSpLocks/>
          </p:cNvGrpSpPr>
          <p:nvPr/>
        </p:nvGrpSpPr>
        <p:grpSpPr bwMode="auto">
          <a:xfrm>
            <a:off x="2474323" y="242796"/>
            <a:ext cx="828675" cy="654050"/>
            <a:chOff x="4108407" y="3284998"/>
            <a:chExt cx="829263" cy="654368"/>
          </a:xfrm>
        </p:grpSpPr>
        <p:sp>
          <p:nvSpPr>
            <p:cNvPr id="23" name="Oval 132"/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gray">
            <a:xfrm rot="2816842">
              <a:off x="4191089" y="3292868"/>
              <a:ext cx="654368" cy="638628"/>
            </a:xfrm>
            <a:prstGeom prst="ellipse">
              <a:avLst/>
            </a:prstGeom>
            <a:solidFill>
              <a:srgbClr val="FFC000"/>
            </a:solidFill>
            <a:ln w="38100" algn="ctr">
              <a:solidFill>
                <a:schemeClr val="bg1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1"/>
            <a:lstStyle/>
            <a:p>
              <a:pPr algn="ctr">
                <a:lnSpc>
                  <a:spcPts val="1200"/>
                </a:lnSpc>
                <a:spcBef>
                  <a:spcPts val="0"/>
                </a:spcBef>
                <a:defRPr/>
              </a:pPr>
              <a:endParaRPr lang="en-US" sz="105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57358" name="Rectangle 29"/>
            <p:cNvSpPr>
              <a:spLocks noChangeAspect="1" noChangeArrowheads="1"/>
            </p:cNvSpPr>
            <p:nvPr/>
          </p:nvSpPr>
          <p:spPr bwMode="auto">
            <a:xfrm>
              <a:off x="4108407" y="3344285"/>
              <a:ext cx="829263" cy="5357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533400" eaLnBrk="0" hangingPunct="0">
                <a:spcBef>
                  <a:spcPts val="763"/>
                </a:spcBef>
                <a:buClr>
                  <a:srgbClr val="808080"/>
                </a:buClr>
                <a:buFont typeface="Wingdings" pitchFamily="2" charset="2"/>
                <a:buChar char=""/>
                <a:defRPr sz="16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1pPr>
              <a:lvl2pPr marL="742950" indent="-285750" defTabSz="533400" eaLnBrk="0" hangingPunct="0">
                <a:spcBef>
                  <a:spcPct val="40000"/>
                </a:spcBef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2pPr>
              <a:lvl3pPr marL="1143000" indent="-228600" defTabSz="533400" eaLnBrk="0" hangingPunct="0">
                <a:spcBef>
                  <a:spcPct val="40000"/>
                </a:spcBef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3pPr>
              <a:lvl4pPr marL="1600200" indent="-228600" defTabSz="533400" eaLnBrk="0" hangingPunct="0">
                <a:spcBef>
                  <a:spcPct val="40000"/>
                </a:spcBef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4pPr>
              <a:lvl5pPr marL="2057400" indent="-228600" defTabSz="533400" eaLnBrk="0" hangingPunct="0">
                <a:spcBef>
                  <a:spcPct val="40000"/>
                </a:spcBef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5pPr>
              <a:lvl6pPr marL="2514600" indent="-228600" defTabSz="5334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6pPr>
              <a:lvl7pPr marL="2971800" indent="-228600" defTabSz="5334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7pPr>
              <a:lvl8pPr marL="3429000" indent="-228600" defTabSz="5334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8pPr>
              <a:lvl9pPr marL="3886200" indent="-228600" defTabSz="5334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zh-CN" sz="800" b="1" dirty="0">
                  <a:solidFill>
                    <a:srgbClr val="FFFFFF"/>
                  </a:solidFill>
                </a:rPr>
                <a:t>Electric Motor Efficiency</a:t>
              </a:r>
            </a:p>
            <a:p>
              <a:pPr algn="ctr" eaLnBrk="1" hangingPunct="1">
                <a:lnSpc>
                  <a:spcPct val="9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800" b="1" dirty="0">
                  <a:solidFill>
                    <a:srgbClr val="FFFFFF"/>
                  </a:solidFill>
                </a:rPr>
                <a:t>电机效能</a:t>
              </a:r>
              <a:endParaRPr lang="en-US" altLang="zh-CN" sz="8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1441294" y="4036968"/>
            <a:ext cx="1800000" cy="1800000"/>
            <a:chOff x="487656" y="2088206"/>
            <a:chExt cx="1800000" cy="1800000"/>
          </a:xfrm>
        </p:grpSpPr>
        <p:sp>
          <p:nvSpPr>
            <p:cNvPr id="21" name="Rectangle 20"/>
            <p:cNvSpPr/>
            <p:nvPr/>
          </p:nvSpPr>
          <p:spPr>
            <a:xfrm>
              <a:off x="487656" y="2088206"/>
              <a:ext cx="1800000" cy="1800000"/>
            </a:xfrm>
            <a:prstGeom prst="rect">
              <a:avLst/>
            </a:prstGeom>
            <a:noFill/>
            <a:ln w="76200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08950" y="2255062"/>
              <a:ext cx="1582409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 fontScale="77500" lnSpcReduction="20000"/>
            </a:bodyPr>
            <a:lstStyle/>
            <a:p>
              <a:r>
                <a:rPr lang="en-US" altLang="zh-CN" sz="5200" b="1" dirty="0">
                  <a:solidFill>
                    <a:schemeClr val="accent2"/>
                  </a:solidFill>
                </a:rPr>
                <a:t>±0.3</a:t>
              </a:r>
              <a:r>
                <a:rPr lang="en-US" altLang="zh-CN" sz="2000" b="1" dirty="0">
                  <a:solidFill>
                    <a:schemeClr val="accent2"/>
                  </a:solidFill>
                  <a:latin typeface="Verdana" panose="020B0604030504040204" pitchFamily="34" charset="0"/>
                </a:rPr>
                <a:t>℃</a:t>
              </a:r>
              <a:endParaRPr lang="en-US" altLang="zh-CN" sz="1900" b="1" dirty="0">
                <a:solidFill>
                  <a:schemeClr val="accent2"/>
                </a:solidFill>
                <a:latin typeface="Verdana" panose="020B0604030504040204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667657" y="2815226"/>
              <a:ext cx="143999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zh-CN" altLang="en-US" sz="1200" dirty="0">
                  <a:solidFill>
                    <a:srgbClr val="E60A11"/>
                  </a:solidFill>
                </a:rPr>
                <a:t>提升数据中心的温度和湿度控制精度</a:t>
              </a:r>
              <a:endParaRPr lang="en-GB" altLang="zh-CN" sz="1200" dirty="0">
                <a:solidFill>
                  <a:srgbClr val="E60A11"/>
                </a:solidFill>
              </a:endParaRPr>
            </a:p>
          </p:txBody>
        </p:sp>
      </p:grpSp>
      <p:sp>
        <p:nvSpPr>
          <p:cNvPr id="25" name="Title 1"/>
          <p:cNvSpPr txBox="1">
            <a:spLocks/>
          </p:cNvSpPr>
          <p:nvPr/>
        </p:nvSpPr>
        <p:spPr>
          <a:xfrm>
            <a:off x="3463637" y="295275"/>
            <a:ext cx="5708074" cy="542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们帮助保护数据安全</a:t>
            </a:r>
          </a:p>
        </p:txBody>
      </p:sp>
      <p:pic>
        <p:nvPicPr>
          <p:cNvPr id="26" name="Picture 1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99652" y="4753497"/>
            <a:ext cx="825644" cy="825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ectangle 26"/>
          <p:cNvSpPr/>
          <p:nvPr/>
        </p:nvSpPr>
        <p:spPr bwMode="auto">
          <a:xfrm>
            <a:off x="3722563" y="4668115"/>
            <a:ext cx="2643187" cy="955675"/>
          </a:xfrm>
          <a:prstGeom prst="rect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0" tIns="0" rIns="0" bIns="0"/>
          <a:lstStyle/>
          <a:p>
            <a:pPr>
              <a:spcBef>
                <a:spcPct val="20000"/>
              </a:spcBef>
              <a:buClr>
                <a:srgbClr val="808080"/>
              </a:buClr>
              <a:defRPr/>
            </a:pPr>
            <a:endParaRPr lang="en-US" b="0">
              <a:solidFill>
                <a:schemeClr val="tx1"/>
              </a:solidFill>
            </a:endParaRPr>
          </a:p>
        </p:txBody>
      </p:sp>
      <p:pic>
        <p:nvPicPr>
          <p:cNvPr id="28" name="Picture 15" descr="http://image.91.com/zx.sj/2009/08/27/wm_zx_dianxinqiqiuxinde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30301" y="5168779"/>
            <a:ext cx="1108075" cy="38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17" descr="http://img.sucai.redocn.com/attachments/images/201002/20100223/20100220_fdc3df6503f030830c85anNoi4o88O11.jp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07727" y="4815752"/>
            <a:ext cx="1074737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84136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3568204" cy="6394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1"/>
          <p:cNvGrpSpPr>
            <a:grpSpLocks/>
          </p:cNvGrpSpPr>
          <p:nvPr/>
        </p:nvGrpSpPr>
        <p:grpSpPr bwMode="auto">
          <a:xfrm>
            <a:off x="2680706" y="368386"/>
            <a:ext cx="828675" cy="654050"/>
            <a:chOff x="4111589" y="3246880"/>
            <a:chExt cx="829263" cy="654368"/>
          </a:xfrm>
        </p:grpSpPr>
        <p:sp>
          <p:nvSpPr>
            <p:cNvPr id="6" name="Oval 132"/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gray">
            <a:xfrm rot="2816842">
              <a:off x="4191093" y="3254750"/>
              <a:ext cx="654368" cy="638628"/>
            </a:xfrm>
            <a:prstGeom prst="ellipse">
              <a:avLst/>
            </a:prstGeom>
            <a:solidFill>
              <a:srgbClr val="FFC000"/>
            </a:solidFill>
            <a:ln w="38100" algn="ctr">
              <a:solidFill>
                <a:schemeClr val="bg1"/>
              </a:solidFill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lIns="0" tIns="0" rIns="0" bIns="0" anchor="ctr" anchorCtr="1"/>
            <a:lstStyle/>
            <a:p>
              <a:pPr algn="ctr">
                <a:lnSpc>
                  <a:spcPts val="1200"/>
                </a:lnSpc>
                <a:spcBef>
                  <a:spcPts val="0"/>
                </a:spcBef>
                <a:defRPr/>
              </a:pPr>
              <a:endParaRPr lang="en-US" sz="1050" dirty="0">
                <a:solidFill>
                  <a:srgbClr val="FFFFFF"/>
                </a:solidFill>
                <a:latin typeface="+mn-ea"/>
              </a:endParaRPr>
            </a:p>
          </p:txBody>
        </p:sp>
        <p:sp>
          <p:nvSpPr>
            <p:cNvPr id="7" name="Rectangle 29"/>
            <p:cNvSpPr>
              <a:spLocks noChangeAspect="1" noChangeArrowheads="1"/>
            </p:cNvSpPr>
            <p:nvPr/>
          </p:nvSpPr>
          <p:spPr bwMode="auto">
            <a:xfrm>
              <a:off x="4111589" y="3357881"/>
              <a:ext cx="829263" cy="4665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533400" eaLnBrk="0" hangingPunct="0">
                <a:spcBef>
                  <a:spcPts val="763"/>
                </a:spcBef>
                <a:buClr>
                  <a:srgbClr val="808080"/>
                </a:buClr>
                <a:buFont typeface="Wingdings" pitchFamily="2" charset="2"/>
                <a:buChar char=""/>
                <a:defRPr sz="16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1pPr>
              <a:lvl2pPr marL="742950" indent="-285750" defTabSz="533400" eaLnBrk="0" hangingPunct="0">
                <a:spcBef>
                  <a:spcPct val="40000"/>
                </a:spcBef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2pPr>
              <a:lvl3pPr marL="1143000" indent="-228600" defTabSz="533400" eaLnBrk="0" hangingPunct="0">
                <a:spcBef>
                  <a:spcPct val="40000"/>
                </a:spcBef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3pPr>
              <a:lvl4pPr marL="1600200" indent="-228600" defTabSz="533400" eaLnBrk="0" hangingPunct="0">
                <a:spcBef>
                  <a:spcPct val="40000"/>
                </a:spcBef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4pPr>
              <a:lvl5pPr marL="2057400" indent="-228600" defTabSz="533400" eaLnBrk="0" hangingPunct="0">
                <a:spcBef>
                  <a:spcPct val="40000"/>
                </a:spcBef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5pPr>
              <a:lvl6pPr marL="2514600" indent="-228600" defTabSz="5334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6pPr>
              <a:lvl7pPr marL="2971800" indent="-228600" defTabSz="5334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7pPr>
              <a:lvl8pPr marL="3429000" indent="-228600" defTabSz="5334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8pPr>
              <a:lvl9pPr marL="3886200" indent="-228600" defTabSz="5334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n"/>
                <a:defRPr sz="1400">
                  <a:solidFill>
                    <a:srgbClr val="000000"/>
                  </a:solidFill>
                  <a:latin typeface="Verdana" pitchFamily="34" charset="0"/>
                  <a:ea typeface="黑体" pitchFamily="49" charset="-122"/>
                  <a:cs typeface="Arial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zh-CN" sz="900" dirty="0">
                  <a:solidFill>
                    <a:srgbClr val="FFFFFF"/>
                  </a:solidFill>
                  <a:latin typeface="+mn-ea"/>
                  <a:ea typeface="+mn-ea"/>
                </a:rPr>
                <a:t>Motion Efficiency</a:t>
              </a:r>
            </a:p>
            <a:p>
              <a:pPr algn="ctr" eaLnBrk="1" hangingPunct="1">
                <a:lnSpc>
                  <a:spcPct val="9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zh-CN" altLang="en-US" sz="900" dirty="0">
                  <a:solidFill>
                    <a:srgbClr val="FFFFFF"/>
                  </a:solidFill>
                  <a:latin typeface="+mn-ea"/>
                  <a:ea typeface="+mn-ea"/>
                </a:rPr>
                <a:t>移动效能</a:t>
              </a:r>
              <a:endParaRPr lang="en-US" altLang="zh-CN" sz="900" dirty="0">
                <a:solidFill>
                  <a:srgbClr val="FFFFFF"/>
                </a:solidFill>
                <a:latin typeface="+mn-ea"/>
                <a:ea typeface="+mn-ea"/>
              </a:endParaRPr>
            </a:p>
          </p:txBody>
        </p:sp>
      </p:grpSp>
      <p:sp>
        <p:nvSpPr>
          <p:cNvPr id="9" name="Title 1"/>
          <p:cNvSpPr txBox="1">
            <a:spLocks/>
          </p:cNvSpPr>
          <p:nvPr/>
        </p:nvSpPr>
        <p:spPr>
          <a:xfrm>
            <a:off x="3726871" y="253710"/>
            <a:ext cx="5375564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>
                <a:latin typeface="+mn-ea"/>
                <a:ea typeface="+mn-ea"/>
              </a:rPr>
              <a:t>我们帮助城市与基础设施建设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1709381" y="4559937"/>
            <a:ext cx="1800000" cy="1800000"/>
            <a:chOff x="487656" y="2088206"/>
            <a:chExt cx="1800000" cy="1800000"/>
          </a:xfrm>
        </p:grpSpPr>
        <p:sp>
          <p:nvSpPr>
            <p:cNvPr id="11" name="Rectangle 10"/>
            <p:cNvSpPr/>
            <p:nvPr/>
          </p:nvSpPr>
          <p:spPr>
            <a:xfrm>
              <a:off x="487656" y="2088206"/>
              <a:ext cx="1800000" cy="1800000"/>
            </a:xfrm>
            <a:prstGeom prst="rect">
              <a:avLst/>
            </a:prstGeom>
            <a:noFill/>
            <a:ln w="76200">
              <a:solidFill>
                <a:schemeClr val="accent2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36661" y="2185787"/>
              <a:ext cx="1470996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rmAutofit/>
            </a:bodyPr>
            <a:lstStyle/>
            <a:p>
              <a:r>
                <a:rPr lang="en-US" altLang="zh-CN" sz="4000" b="1" dirty="0">
                  <a:solidFill>
                    <a:schemeClr val="accent2"/>
                  </a:solidFill>
                </a:rPr>
                <a:t>54%</a:t>
              </a:r>
              <a:endParaRPr lang="en-GB" sz="4000" b="1" dirty="0">
                <a:solidFill>
                  <a:schemeClr val="accent2"/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67657" y="2884501"/>
              <a:ext cx="1439999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/>
              <a:r>
                <a:rPr lang="zh-CN" altLang="en-US" sz="1200" dirty="0">
                  <a:solidFill>
                    <a:srgbClr val="E60A11"/>
                  </a:solidFill>
                </a:rPr>
                <a:t>丹佛斯动力传动解决方案节省能源消耗</a:t>
              </a:r>
              <a:endParaRPr lang="en-US" altLang="zh-CN" sz="1200" dirty="0">
                <a:solidFill>
                  <a:srgbClr val="E60A11"/>
                </a:solidFill>
              </a:endParaRPr>
            </a:p>
          </p:txBody>
        </p:sp>
      </p:grpSp>
      <p:sp>
        <p:nvSpPr>
          <p:cNvPr id="14" name="Rectangle 13"/>
          <p:cNvSpPr/>
          <p:nvPr/>
        </p:nvSpPr>
        <p:spPr>
          <a:xfrm>
            <a:off x="3834029" y="1609472"/>
            <a:ext cx="5071293" cy="159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768"/>
              </a:spcBef>
              <a:defRPr/>
            </a:pPr>
            <a:r>
              <a:rPr lang="zh-CN" altLang="en-US" sz="1500" b="1" kern="0" dirty="0">
                <a:solidFill>
                  <a:srgbClr val="0049A8"/>
                </a:solidFill>
                <a:latin typeface="+mn-ea"/>
              </a:rPr>
              <a:t>城镇化 </a:t>
            </a:r>
            <a:r>
              <a:rPr lang="en-US" altLang="zh-CN" sz="1500" b="1" kern="0" dirty="0">
                <a:solidFill>
                  <a:srgbClr val="0049A8"/>
                </a:solidFill>
                <a:latin typeface="+mn-ea"/>
              </a:rPr>
              <a:t>—— </a:t>
            </a:r>
            <a:r>
              <a:rPr lang="zh-CN" altLang="en-US" sz="1500" b="1" kern="0" dirty="0">
                <a:solidFill>
                  <a:srgbClr val="0049A8"/>
                </a:solidFill>
                <a:latin typeface="+mn-ea"/>
              </a:rPr>
              <a:t>中国经济发展的推动力</a:t>
            </a:r>
          </a:p>
          <a:p>
            <a:pPr marL="360000" indent="-360000">
              <a:lnSpc>
                <a:spcPct val="12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+mn-ea"/>
              </a:rPr>
              <a:t>中国城镇化率达到</a:t>
            </a:r>
            <a:r>
              <a:rPr lang="en-US" altLang="zh-CN" sz="1300" b="1" dirty="0">
                <a:solidFill>
                  <a:srgbClr val="000000"/>
                </a:solidFill>
                <a:latin typeface="+mn-ea"/>
              </a:rPr>
              <a:t>56.1%</a:t>
            </a:r>
            <a:endParaRPr lang="en-US" sz="1300" b="1" dirty="0">
              <a:solidFill>
                <a:srgbClr val="000000"/>
              </a:solidFill>
              <a:latin typeface="+mn-ea"/>
            </a:endParaRPr>
          </a:p>
          <a:p>
            <a:pPr marL="360000" indent="-360000">
              <a:lnSpc>
                <a:spcPct val="12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+mn-ea"/>
              </a:rPr>
              <a:t>中国地、县级市共有</a:t>
            </a:r>
            <a:r>
              <a:rPr lang="en-US" altLang="zh-CN" sz="1300" b="1" dirty="0">
                <a:solidFill>
                  <a:srgbClr val="000000"/>
                </a:solidFill>
                <a:latin typeface="+mn-ea"/>
              </a:rPr>
              <a:t>658</a:t>
            </a:r>
            <a:r>
              <a:rPr lang="zh-CN" altLang="en-US" sz="1300" b="1" dirty="0">
                <a:solidFill>
                  <a:srgbClr val="000000"/>
                </a:solidFill>
                <a:latin typeface="+mn-ea"/>
              </a:rPr>
              <a:t>个</a:t>
            </a:r>
          </a:p>
          <a:p>
            <a:pPr marL="360000" indent="-360000">
              <a:lnSpc>
                <a:spcPct val="12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+mn-ea"/>
              </a:rPr>
              <a:t>新增城镇人口达到</a:t>
            </a:r>
            <a:r>
              <a:rPr lang="zh-CN" altLang="en-US" sz="1300" b="1" dirty="0">
                <a:solidFill>
                  <a:srgbClr val="000000"/>
                </a:solidFill>
                <a:latin typeface="+mn-ea"/>
              </a:rPr>
              <a:t>一亿</a:t>
            </a:r>
            <a:endParaRPr lang="en-US" sz="1300" b="1" dirty="0">
              <a:solidFill>
                <a:srgbClr val="000000"/>
              </a:solidFill>
              <a:latin typeface="+mn-ea"/>
            </a:endParaRPr>
          </a:p>
          <a:p>
            <a:pPr marL="360000" indent="-360000">
              <a:lnSpc>
                <a:spcPct val="12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en-US" altLang="zh-CN" sz="1300" b="1" dirty="0">
                <a:solidFill>
                  <a:srgbClr val="000000"/>
                </a:solidFill>
                <a:latin typeface="+mn-ea"/>
              </a:rPr>
              <a:t>80</a:t>
            </a:r>
            <a:r>
              <a:rPr lang="zh-CN" altLang="en-US" sz="1300" b="1" dirty="0">
                <a:solidFill>
                  <a:srgbClr val="000000"/>
                </a:solidFill>
                <a:latin typeface="+mn-ea"/>
              </a:rPr>
              <a:t>万</a:t>
            </a:r>
            <a:r>
              <a:rPr lang="zh-CN" altLang="en-US" sz="1300" dirty="0">
                <a:solidFill>
                  <a:srgbClr val="000000"/>
                </a:solidFill>
                <a:latin typeface="+mn-ea"/>
              </a:rPr>
              <a:t>建筑与物料搬运机械，年均增长约</a:t>
            </a:r>
            <a:r>
              <a:rPr lang="en-US" altLang="zh-CN" sz="1300" dirty="0">
                <a:solidFill>
                  <a:srgbClr val="000000"/>
                </a:solidFill>
                <a:latin typeface="+mn-ea"/>
              </a:rPr>
              <a:t>7%</a:t>
            </a:r>
            <a:endParaRPr lang="en-US" sz="1300" dirty="0">
              <a:solidFill>
                <a:srgbClr val="000000"/>
              </a:solidFill>
              <a:latin typeface="+mn-ea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827038" y="3404909"/>
            <a:ext cx="5071294" cy="95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768"/>
              </a:spcBef>
              <a:defRPr/>
            </a:pPr>
            <a:r>
              <a:rPr lang="zh-CN" altLang="en-US" sz="1500" b="1" kern="0" dirty="0">
                <a:solidFill>
                  <a:srgbClr val="0049A8"/>
                </a:solidFill>
                <a:latin typeface="+mn-ea"/>
              </a:rPr>
              <a:t>为高效运转提供动力</a:t>
            </a:r>
            <a:endParaRPr lang="en-GB" altLang="en-US" sz="1500" b="1" kern="0" dirty="0">
              <a:solidFill>
                <a:srgbClr val="0049A8"/>
              </a:solidFill>
              <a:latin typeface="+mn-ea"/>
            </a:endParaRPr>
          </a:p>
          <a:p>
            <a:pPr marL="360000" indent="-360000">
              <a:lnSpc>
                <a:spcPct val="12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+mn-ea"/>
              </a:rPr>
              <a:t>为不同领域的移动提升应用提供专门技术</a:t>
            </a:r>
            <a:endParaRPr lang="en-US" sz="1300" dirty="0">
              <a:solidFill>
                <a:srgbClr val="000000"/>
              </a:solidFill>
              <a:latin typeface="+mn-ea"/>
            </a:endParaRPr>
          </a:p>
          <a:p>
            <a:pPr marL="360000" indent="-360000">
              <a:lnSpc>
                <a:spcPct val="12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/>
            </a:pPr>
            <a:r>
              <a:rPr lang="zh-CN" altLang="en-US" sz="1300" dirty="0">
                <a:solidFill>
                  <a:srgbClr val="000000"/>
                </a:solidFill>
                <a:latin typeface="+mn-ea"/>
              </a:rPr>
              <a:t>引擎更紧凑，燃料更节省</a:t>
            </a:r>
          </a:p>
        </p:txBody>
      </p:sp>
      <p:grpSp>
        <p:nvGrpSpPr>
          <p:cNvPr id="16" name="Group 2"/>
          <p:cNvGrpSpPr>
            <a:grpSpLocks/>
          </p:cNvGrpSpPr>
          <p:nvPr/>
        </p:nvGrpSpPr>
        <p:grpSpPr bwMode="auto">
          <a:xfrm>
            <a:off x="3726871" y="5035758"/>
            <a:ext cx="2928937" cy="873466"/>
            <a:chOff x="3690938" y="5487831"/>
            <a:chExt cx="2928818" cy="872728"/>
          </a:xfrm>
        </p:grpSpPr>
        <p:pic>
          <p:nvPicPr>
            <p:cNvPr id="17" name="Picture 3" descr="xumg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0919" y="5558785"/>
              <a:ext cx="895350" cy="4111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5" descr="sany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55347" y="5961217"/>
              <a:ext cx="1276350" cy="3825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5863" y="5943754"/>
              <a:ext cx="1165225" cy="400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" name="Picture 3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6268" y="5623079"/>
              <a:ext cx="1638300" cy="2825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1" name="Rectangle 20"/>
            <p:cNvSpPr/>
            <p:nvPr/>
          </p:nvSpPr>
          <p:spPr bwMode="auto">
            <a:xfrm>
              <a:off x="3690938" y="5487831"/>
              <a:ext cx="2928818" cy="872728"/>
            </a:xfrm>
            <a:prstGeom prst="rect">
              <a:avLst/>
            </a:prstGeom>
            <a:noFill/>
            <a:ln w="63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/>
            <a:lstStyle/>
            <a:p>
              <a:pPr>
                <a:spcBef>
                  <a:spcPct val="20000"/>
                </a:spcBef>
                <a:buClr>
                  <a:srgbClr val="808080"/>
                </a:buClr>
                <a:defRPr/>
              </a:pPr>
              <a:endParaRPr lang="en-US" b="0">
                <a:solidFill>
                  <a:schemeClr val="tx1"/>
                </a:solidFill>
              </a:endParaRPr>
            </a:p>
          </p:txBody>
        </p:sp>
      </p:grpSp>
      <p:grpSp>
        <p:nvGrpSpPr>
          <p:cNvPr id="22" name="Group 1"/>
          <p:cNvGrpSpPr>
            <a:grpSpLocks/>
          </p:cNvGrpSpPr>
          <p:nvPr/>
        </p:nvGrpSpPr>
        <p:grpSpPr bwMode="auto">
          <a:xfrm>
            <a:off x="6709763" y="4597308"/>
            <a:ext cx="1410109" cy="1018928"/>
            <a:chOff x="6862848" y="5121160"/>
            <a:chExt cx="1935038" cy="1382672"/>
          </a:xfrm>
        </p:grpSpPr>
        <p:pic>
          <p:nvPicPr>
            <p:cNvPr id="23" name="Picture 103" descr="F500018_H1P_089_AC-with-wire"/>
            <p:cNvPicPr>
              <a:picLocks noChangeAspect="1" noChangeArrowheads="1"/>
            </p:cNvPicPr>
            <p:nvPr/>
          </p:nvPicPr>
          <p:blipFill>
            <a:blip r:embed="rId8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2848" y="5637057"/>
              <a:ext cx="820738" cy="866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80" descr="F301602_H1_B110_Motor"/>
            <p:cNvPicPr>
              <a:picLocks noChangeAspect="1" noChangeArrowheads="1"/>
            </p:cNvPicPr>
            <p:nvPr/>
          </p:nvPicPr>
          <p:blipFill>
            <a:blip r:embed="rId9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46999" y="5626139"/>
              <a:ext cx="750887" cy="841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2" descr="G:\Department\006\Maike\EXHIBITIONS\EXHIBITIONS\2013\Agritechnica 2013\Screen presentations\Final screen presentations\klar til finish og animation\OSPED-60_200-LSR.png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2003" y="5121160"/>
              <a:ext cx="1130300" cy="1301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8" name="Picture 8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3374" y="4362094"/>
            <a:ext cx="634846" cy="1727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83851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>
            <a:hlinkClick r:id="" action="ppaction://hlinkshowjump?jump=firstslide"/>
          </p:cNvPr>
          <p:cNvSpPr>
            <a:spLocks noChangeArrowheads="1"/>
          </p:cNvSpPr>
          <p:nvPr/>
        </p:nvSpPr>
        <p:spPr bwMode="auto">
          <a:xfrm>
            <a:off x="468313" y="333375"/>
            <a:ext cx="7339012" cy="44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182563" indent="-182563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>
                <a:srgbClr val="04933C"/>
              </a:buClr>
              <a:buFont typeface="Wingdings" panose="05000000000000000000" pitchFamily="2" charset="2"/>
              <a:buNone/>
            </a:pPr>
            <a:r>
              <a:rPr lang="zh-CN" altLang="da-DK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丹佛斯变频器在中国所服务的部分用户</a:t>
            </a:r>
            <a:r>
              <a:rPr lang="da-DK" altLang="zh-CN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		</a:t>
            </a:r>
          </a:p>
        </p:txBody>
      </p:sp>
      <p:pic>
        <p:nvPicPr>
          <p:cNvPr id="98321" name="Picture 17" descr="中央电视台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825" y="1125538"/>
            <a:ext cx="3209925" cy="4824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323" name="Picture 19" descr="中南海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263" y="3130550"/>
            <a:ext cx="4248150" cy="2824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0357" name="AutoShape 58"/>
          <p:cNvSpPr>
            <a:spLocks noChangeArrowheads="1"/>
          </p:cNvSpPr>
          <p:nvPr/>
        </p:nvSpPr>
        <p:spPr bwMode="auto">
          <a:xfrm>
            <a:off x="2987675" y="908050"/>
            <a:ext cx="2160588" cy="1008063"/>
          </a:xfrm>
          <a:prstGeom prst="wedgeRectCallout">
            <a:avLst>
              <a:gd name="adj1" fmla="val -43750"/>
              <a:gd name="adj2" fmla="val 7000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endParaRPr lang="zh-CN" altLang="zh-CN" sz="10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8363" name="AutoShape 59"/>
          <p:cNvSpPr>
            <a:spLocks noChangeArrowheads="1"/>
          </p:cNvSpPr>
          <p:nvPr/>
        </p:nvSpPr>
        <p:spPr bwMode="auto">
          <a:xfrm>
            <a:off x="2339975" y="1125538"/>
            <a:ext cx="2663825" cy="936625"/>
          </a:xfrm>
          <a:prstGeom prst="wedgeRoundRectCallout">
            <a:avLst>
              <a:gd name="adj1" fmla="val 76579"/>
              <a:gd name="adj2" fmla="val 121694"/>
              <a:gd name="adj3" fmla="val 16667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北京中央电视台大楼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中央空调系统以及消防系统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131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台（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4.0-90KW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）</a:t>
            </a:r>
            <a:endParaRPr lang="zh-CN" altLang="en-GB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98364" name="AutoShape 60"/>
          <p:cNvSpPr>
            <a:spLocks noChangeArrowheads="1"/>
          </p:cNvSpPr>
          <p:nvPr/>
        </p:nvSpPr>
        <p:spPr bwMode="auto">
          <a:xfrm>
            <a:off x="468313" y="2133600"/>
            <a:ext cx="3382962" cy="936625"/>
          </a:xfrm>
          <a:prstGeom prst="wedgeRoundRectCallout">
            <a:avLst>
              <a:gd name="adj1" fmla="val 48454"/>
              <a:gd name="adj2" fmla="val 128134"/>
              <a:gd name="adj3" fmla="val 16667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北京中南海怀仁堂，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101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和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102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工程</a:t>
            </a:r>
            <a:endParaRPr lang="en-US" altLang="zh-CN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中央空调水泵及新风系统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37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台（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3.0-55KW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）</a:t>
            </a:r>
            <a:endParaRPr lang="zh-CN" altLang="en-GB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3752356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983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0" dur="2000"/>
                                        <p:tgtEl>
                                          <p:spTgt spid="983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98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98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363" grpId="0" animBg="1"/>
      <p:bldP spid="9836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AutoShape 2"/>
          <p:cNvSpPr>
            <a:spLocks noChangeArrowheads="1"/>
          </p:cNvSpPr>
          <p:nvPr/>
        </p:nvSpPr>
        <p:spPr bwMode="auto">
          <a:xfrm>
            <a:off x="2987675" y="908050"/>
            <a:ext cx="2160588" cy="1008063"/>
          </a:xfrm>
          <a:prstGeom prst="wedgeRectCallout">
            <a:avLst>
              <a:gd name="adj1" fmla="val -43750"/>
              <a:gd name="adj2" fmla="val 7000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endParaRPr lang="zh-CN" altLang="zh-CN" sz="10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01379" name="Picture 4" descr="cctv_lar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100" y="908050"/>
            <a:ext cx="4152900" cy="531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1380" name="Rectangle 5"/>
          <p:cNvSpPr>
            <a:spLocks noChangeArrowheads="1"/>
          </p:cNvSpPr>
          <p:nvPr/>
        </p:nvSpPr>
        <p:spPr bwMode="auto">
          <a:xfrm>
            <a:off x="250825" y="1773238"/>
            <a:ext cx="3887788" cy="1192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800">
                <a:solidFill>
                  <a:srgbClr val="000000"/>
                </a:solidFill>
                <a:cs typeface="Arial" panose="020B0604020202020204" pitchFamily="34" charset="0"/>
              </a:rPr>
              <a:t>新</a:t>
            </a:r>
            <a:r>
              <a:rPr lang="en-US" altLang="zh-CN" sz="1800">
                <a:solidFill>
                  <a:srgbClr val="000000"/>
                </a:solidFill>
                <a:cs typeface="Arial" panose="020B0604020202020204" pitchFamily="34" charset="0"/>
              </a:rPr>
              <a:t>CCTV</a:t>
            </a:r>
            <a:r>
              <a:rPr lang="zh-CN" altLang="en-US" sz="1800">
                <a:solidFill>
                  <a:srgbClr val="000000"/>
                </a:solidFill>
                <a:cs typeface="Arial" panose="020B0604020202020204" pitchFamily="34" charset="0"/>
              </a:rPr>
              <a:t>大楼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800">
                <a:solidFill>
                  <a:srgbClr val="000000"/>
                </a:solidFill>
                <a:cs typeface="Arial" panose="020B0604020202020204" pitchFamily="34" charset="0"/>
              </a:rPr>
              <a:t>冷冻水系统和空调箱</a:t>
            </a:r>
            <a:r>
              <a:rPr lang="en-US" altLang="zh-CN" sz="1800">
                <a:solidFill>
                  <a:srgbClr val="000000"/>
                </a:solidFill>
                <a:cs typeface="Arial" panose="020B0604020202020204" pitchFamily="34" charset="0"/>
              </a:rPr>
              <a:t>AHU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zh-CN" sz="1800">
                <a:solidFill>
                  <a:srgbClr val="000000"/>
                </a:solidFill>
                <a:cs typeface="Arial" panose="020B0604020202020204" pitchFamily="34" charset="0"/>
              </a:rPr>
              <a:t>131 pcs</a:t>
            </a:r>
            <a:r>
              <a:rPr lang="zh-CN" altLang="en-US" sz="1800">
                <a:solidFill>
                  <a:srgbClr val="000000"/>
                </a:solidFill>
                <a:cs typeface="Arial" panose="020B0604020202020204" pitchFamily="34" charset="0"/>
              </a:rPr>
              <a:t>（</a:t>
            </a:r>
            <a:r>
              <a:rPr lang="en-US" altLang="zh-CN" sz="1800">
                <a:solidFill>
                  <a:srgbClr val="000000"/>
                </a:solidFill>
                <a:cs typeface="Arial" panose="020B0604020202020204" pitchFamily="34" charset="0"/>
              </a:rPr>
              <a:t>4.0-160KW</a:t>
            </a:r>
            <a:r>
              <a:rPr lang="zh-CN" altLang="en-US" sz="1800">
                <a:solidFill>
                  <a:srgbClr val="000000"/>
                </a:solidFill>
                <a:cs typeface="Arial" panose="020B0604020202020204" pitchFamily="34" charset="0"/>
              </a:rPr>
              <a:t>）</a:t>
            </a:r>
            <a:endParaRPr lang="zh-CN" altLang="en-GB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1381" name="Rectangle 6">
            <a:hlinkClick r:id="" action="ppaction://hlinkshowjump?jump=firstslide"/>
          </p:cNvPr>
          <p:cNvSpPr>
            <a:spLocks noChangeArrowheads="1"/>
          </p:cNvSpPr>
          <p:nvPr/>
        </p:nvSpPr>
        <p:spPr bwMode="auto">
          <a:xfrm>
            <a:off x="468313" y="333375"/>
            <a:ext cx="7339012" cy="44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182563" indent="-182563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>
                <a:srgbClr val="04933C"/>
              </a:buClr>
              <a:buFont typeface="Wingdings" panose="05000000000000000000" pitchFamily="2" charset="2"/>
              <a:buNone/>
            </a:pPr>
            <a:r>
              <a:rPr lang="zh-CN" altLang="da-DK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丹佛斯变频器在中国所服务的部分用户</a:t>
            </a:r>
            <a:r>
              <a:rPr lang="da-DK" altLang="zh-CN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2766747900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466595" y="1181161"/>
            <a:ext cx="2605093" cy="4814807"/>
          </a:xfrm>
          <a:prstGeom prst="rect">
            <a:avLst/>
          </a:prstGeom>
          <a:solidFill>
            <a:srgbClr val="C00000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9099" y="295275"/>
            <a:ext cx="8308975" cy="936000"/>
          </a:xfrm>
        </p:spPr>
        <p:txBody>
          <a:bodyPr/>
          <a:lstStyle/>
          <a:p>
            <a:pPr>
              <a:defRPr/>
            </a:pPr>
            <a:r>
              <a:rPr lang="zh-CN" altLang="en-US" sz="3000" b="1" dirty="0"/>
              <a:t>丹佛斯集团</a:t>
            </a:r>
            <a:r>
              <a:rPr lang="zh-CN" altLang="en-US" sz="3000" b="1" dirty="0">
                <a:solidFill>
                  <a:srgbClr val="B6000F"/>
                </a:solidFill>
              </a:rPr>
              <a:t>介绍</a:t>
            </a:r>
            <a:endParaRPr lang="en-US" sz="3000" b="1" dirty="0">
              <a:solidFill>
                <a:srgbClr val="B6000F"/>
              </a:solidFill>
            </a:endParaRPr>
          </a:p>
        </p:txBody>
      </p:sp>
      <p:pic>
        <p:nvPicPr>
          <p:cNvPr id="4" name="Picture 3" descr="page16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3" t="5660" r="22009" b="6566"/>
          <a:stretch/>
        </p:blipFill>
        <p:spPr>
          <a:xfrm>
            <a:off x="3401200" y="1517745"/>
            <a:ext cx="5326070" cy="471033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884521" y="2750691"/>
            <a:ext cx="1133231" cy="569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53</a:t>
            </a:r>
            <a:r>
              <a:rPr lang="zh-CN" altLang="en-US" sz="1600" b="1" dirty="0">
                <a:solidFill>
                  <a:schemeClr val="bg1"/>
                </a:solidFill>
              </a:rPr>
              <a:t>亿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zh-CN" altLang="en-US" sz="1100" b="1" dirty="0">
                <a:solidFill>
                  <a:schemeClr val="bg1"/>
                </a:solidFill>
              </a:rPr>
              <a:t>净销售额</a:t>
            </a:r>
            <a:r>
              <a:rPr lang="en-US" sz="1000" dirty="0">
                <a:solidFill>
                  <a:srgbClr val="FFFFFF"/>
                </a:solidFill>
              </a:rPr>
              <a:t> </a:t>
            </a:r>
          </a:p>
          <a:p>
            <a:r>
              <a:rPr lang="en-US" sz="1000" dirty="0">
                <a:solidFill>
                  <a:srgbClr val="FFFFFF"/>
                </a:solidFill>
              </a:rPr>
              <a:t>/</a:t>
            </a:r>
            <a:r>
              <a:rPr lang="zh-CN" altLang="en-US" sz="1000" dirty="0">
                <a:solidFill>
                  <a:srgbClr val="FFFFFF"/>
                </a:solidFill>
              </a:rPr>
              <a:t>欧元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71751" y="2164537"/>
            <a:ext cx="113323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4.6</a:t>
            </a:r>
            <a:r>
              <a:rPr lang="zh-CN" altLang="en-US" sz="1100" b="1" dirty="0">
                <a:solidFill>
                  <a:schemeClr val="bg1"/>
                </a:solidFill>
              </a:rPr>
              <a:t>亿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zh-CN" altLang="en-US" sz="1100" b="1" dirty="0">
                <a:solidFill>
                  <a:schemeClr val="bg1"/>
                </a:solidFill>
              </a:rPr>
              <a:t>现金流</a:t>
            </a:r>
            <a:endParaRPr lang="en-US" sz="1000" dirty="0">
              <a:solidFill>
                <a:srgbClr val="FFFFFF"/>
              </a:solidFill>
            </a:endParaRPr>
          </a:p>
          <a:p>
            <a:r>
              <a:rPr lang="en-US" sz="1000" dirty="0">
                <a:solidFill>
                  <a:srgbClr val="FFFFFF"/>
                </a:solidFill>
              </a:rPr>
              <a:t>/</a:t>
            </a:r>
            <a:r>
              <a:rPr lang="zh-CN" altLang="en-US" sz="1000" dirty="0">
                <a:solidFill>
                  <a:srgbClr val="FFFFFF"/>
                </a:solidFill>
              </a:rPr>
              <a:t>欧元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874750" y="3991386"/>
            <a:ext cx="1133232" cy="7109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sz="1600" b="1" dirty="0">
                <a:solidFill>
                  <a:schemeClr val="bg1"/>
                </a:solidFill>
              </a:rPr>
              <a:t>5.7</a:t>
            </a:r>
            <a:r>
              <a:rPr lang="zh-CN" altLang="en-US" sz="1600" b="1" dirty="0">
                <a:solidFill>
                  <a:schemeClr val="bg1"/>
                </a:solidFill>
              </a:rPr>
              <a:t>亿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zh-CN" altLang="en-US" sz="1100" b="1" dirty="0">
                <a:solidFill>
                  <a:schemeClr val="bg1"/>
                </a:solidFill>
              </a:rPr>
              <a:t>营业利润</a:t>
            </a:r>
            <a:endParaRPr lang="en-US" altLang="zh-CN" sz="1100" b="1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</a:pPr>
            <a:r>
              <a:rPr lang="en-US" sz="1000" dirty="0">
                <a:solidFill>
                  <a:srgbClr val="FFFFFF"/>
                </a:solidFill>
              </a:rPr>
              <a:t>/</a:t>
            </a:r>
            <a:r>
              <a:rPr lang="zh-CN" altLang="en-US" sz="1000" dirty="0">
                <a:solidFill>
                  <a:srgbClr val="FFFFFF"/>
                </a:solidFill>
              </a:rPr>
              <a:t>欧元</a:t>
            </a:r>
            <a:endParaRPr lang="en-US" sz="1000" dirty="0">
              <a:solidFill>
                <a:srgbClr val="FFFFFF"/>
              </a:solidFill>
            </a:endParaRPr>
          </a:p>
          <a:p>
            <a:pPr>
              <a:lnSpc>
                <a:spcPct val="110000"/>
              </a:lnSpc>
            </a:pPr>
            <a:r>
              <a:rPr lang="zh-CN" altLang="en-US" sz="500" dirty="0">
                <a:solidFill>
                  <a:srgbClr val="FFFFFF"/>
                </a:solidFill>
              </a:rPr>
              <a:t>包含其它收入和费用</a:t>
            </a:r>
            <a:endParaRPr lang="en-US" sz="500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61980" y="3620153"/>
            <a:ext cx="113323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100" b="1" dirty="0">
                <a:solidFill>
                  <a:schemeClr val="bg1"/>
                </a:solidFill>
              </a:rPr>
              <a:t>2.2</a:t>
            </a:r>
            <a:r>
              <a:rPr lang="zh-CN" altLang="en-US" sz="1100" b="1" dirty="0">
                <a:solidFill>
                  <a:schemeClr val="bg1"/>
                </a:solidFill>
              </a:rPr>
              <a:t>亿</a:t>
            </a:r>
            <a:br>
              <a:rPr lang="en-US" sz="1100" b="1" dirty="0">
                <a:solidFill>
                  <a:schemeClr val="bg1"/>
                </a:solidFill>
              </a:rPr>
            </a:br>
            <a:r>
              <a:rPr lang="zh-CN" altLang="en-US" sz="1100" b="1" dirty="0">
                <a:solidFill>
                  <a:schemeClr val="bg1"/>
                </a:solidFill>
              </a:rPr>
              <a:t>研发费用</a:t>
            </a:r>
            <a:br>
              <a:rPr lang="en-US" sz="1000" dirty="0">
                <a:solidFill>
                  <a:srgbClr val="FFFFFF"/>
                </a:solidFill>
              </a:rPr>
            </a:br>
            <a:r>
              <a:rPr lang="en-US" sz="1000" dirty="0">
                <a:solidFill>
                  <a:srgbClr val="FFFFFF"/>
                </a:solidFill>
              </a:rPr>
              <a:t>/</a:t>
            </a:r>
            <a:r>
              <a:rPr lang="zh-CN" altLang="en-US" sz="1000" dirty="0">
                <a:solidFill>
                  <a:srgbClr val="FFFFFF"/>
                </a:solidFill>
              </a:rPr>
              <a:t>欧元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222904" y="4919459"/>
            <a:ext cx="752232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b="1" dirty="0">
                <a:solidFill>
                  <a:schemeClr val="bg1"/>
                </a:solidFill>
              </a:rPr>
              <a:t>23.2</a:t>
            </a:r>
            <a:r>
              <a:rPr lang="zh-CN" altLang="en-US" sz="1000" b="1" dirty="0">
                <a:solidFill>
                  <a:schemeClr val="bg1"/>
                </a:solidFill>
              </a:rPr>
              <a:t>亿</a:t>
            </a:r>
            <a:endParaRPr lang="en-US" sz="1000" b="1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</a:pPr>
            <a:r>
              <a:rPr lang="zh-CN" altLang="en-US" sz="500" dirty="0">
                <a:solidFill>
                  <a:srgbClr val="FFFFFF"/>
                </a:solidFill>
              </a:rPr>
              <a:t>股东权益</a:t>
            </a:r>
            <a:r>
              <a:rPr lang="en-US" sz="500" dirty="0">
                <a:solidFill>
                  <a:srgbClr val="FFFFFF"/>
                </a:solidFill>
              </a:rPr>
              <a:t> </a:t>
            </a:r>
          </a:p>
          <a:p>
            <a:pPr>
              <a:lnSpc>
                <a:spcPct val="110000"/>
              </a:lnSpc>
            </a:pPr>
            <a:r>
              <a:rPr lang="en-US" sz="500" dirty="0">
                <a:solidFill>
                  <a:srgbClr val="FFFFFF"/>
                </a:solidFill>
              </a:rPr>
              <a:t>/</a:t>
            </a:r>
            <a:r>
              <a:rPr lang="zh-CN" altLang="en-US" sz="500" dirty="0">
                <a:solidFill>
                  <a:srgbClr val="FFFFFF"/>
                </a:solidFill>
              </a:rPr>
              <a:t>欧元</a:t>
            </a:r>
            <a:endParaRPr lang="en-US" sz="5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678519" y="3522459"/>
            <a:ext cx="752232" cy="2693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43%</a:t>
            </a:r>
          </a:p>
          <a:p>
            <a:pPr>
              <a:lnSpc>
                <a:spcPct val="110000"/>
              </a:lnSpc>
            </a:pPr>
            <a:r>
              <a:rPr lang="zh-CN" altLang="en-US" sz="500" dirty="0">
                <a:solidFill>
                  <a:srgbClr val="FFFFFF"/>
                </a:solidFill>
              </a:rPr>
              <a:t>股东权益率</a:t>
            </a:r>
            <a:endParaRPr lang="en-US" sz="5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66213" y="4030459"/>
            <a:ext cx="732693" cy="4431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bg1"/>
                </a:solidFill>
              </a:rPr>
              <a:t>6%</a:t>
            </a:r>
          </a:p>
          <a:p>
            <a:pPr>
              <a:lnSpc>
                <a:spcPct val="110000"/>
              </a:lnSpc>
            </a:pPr>
            <a:r>
              <a:rPr lang="zh-CN" altLang="en-US" sz="700" dirty="0">
                <a:solidFill>
                  <a:srgbClr val="FFFFFF"/>
                </a:solidFill>
              </a:rPr>
              <a:t>销售增长率</a:t>
            </a:r>
            <a:endParaRPr lang="en-US" sz="400" dirty="0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438251" y="1741144"/>
            <a:ext cx="1253173" cy="1880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200" b="1" dirty="0">
                <a:solidFill>
                  <a:schemeClr val="bg1"/>
                </a:solidFill>
              </a:rPr>
              <a:t>气候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438251" y="3113175"/>
            <a:ext cx="1253173" cy="1880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200" b="1" dirty="0">
                <a:solidFill>
                  <a:schemeClr val="bg1"/>
                </a:solidFill>
              </a:rPr>
              <a:t>能源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38251" y="5427375"/>
            <a:ext cx="1515261" cy="1880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200" b="1" dirty="0">
                <a:solidFill>
                  <a:schemeClr val="bg1"/>
                </a:solidFill>
              </a:rPr>
              <a:t>食品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38251" y="4270275"/>
            <a:ext cx="1607859" cy="1880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zh-CN" altLang="en-US" sz="1200" b="1" dirty="0">
                <a:solidFill>
                  <a:schemeClr val="bg1"/>
                </a:solidFill>
              </a:rPr>
              <a:t>基础建设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678708" y="6234810"/>
            <a:ext cx="1342416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i-FI" sz="700" dirty="0"/>
              <a:t>2016</a:t>
            </a:r>
            <a:r>
              <a:rPr lang="zh-CN" altLang="en-US" sz="700" dirty="0"/>
              <a:t>财务数据</a:t>
            </a:r>
            <a:endParaRPr lang="en-US" sz="700" dirty="0" err="1"/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407" y="2919277"/>
            <a:ext cx="622155" cy="578132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457" y="1559449"/>
            <a:ext cx="539281" cy="50112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117" y="4095309"/>
            <a:ext cx="546372" cy="50771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699" y="5240167"/>
            <a:ext cx="507514" cy="4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8068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AutoShape 2"/>
          <p:cNvSpPr>
            <a:spLocks noChangeArrowheads="1"/>
          </p:cNvSpPr>
          <p:nvPr/>
        </p:nvSpPr>
        <p:spPr bwMode="auto">
          <a:xfrm>
            <a:off x="2987675" y="908050"/>
            <a:ext cx="2160588" cy="1008063"/>
          </a:xfrm>
          <a:prstGeom prst="wedgeRectCallout">
            <a:avLst>
              <a:gd name="adj1" fmla="val -43750"/>
              <a:gd name="adj2" fmla="val 7000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endParaRPr lang="zh-CN" altLang="zh-CN" sz="10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02403" name="Rectangle 4"/>
          <p:cNvSpPr>
            <a:spLocks noChangeArrowheads="1"/>
          </p:cNvSpPr>
          <p:nvPr/>
        </p:nvSpPr>
        <p:spPr bwMode="auto">
          <a:xfrm>
            <a:off x="2627313" y="4281488"/>
            <a:ext cx="3887787" cy="784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800">
                <a:solidFill>
                  <a:srgbClr val="000000"/>
                </a:solidFill>
                <a:cs typeface="Arial" panose="020B0604020202020204" pitchFamily="34" charset="0"/>
              </a:rPr>
              <a:t>上海环球金融中心</a:t>
            </a:r>
            <a:endParaRPr lang="en-US" altLang="zh-CN" sz="180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zh-CN" sz="1800">
                <a:solidFill>
                  <a:srgbClr val="000000"/>
                </a:solidFill>
                <a:cs typeface="Arial" panose="020B0604020202020204" pitchFamily="34" charset="0"/>
              </a:rPr>
              <a:t>427 pcs</a:t>
            </a:r>
            <a:r>
              <a:rPr lang="zh-CN" altLang="en-US" sz="1800">
                <a:solidFill>
                  <a:srgbClr val="000000"/>
                </a:solidFill>
                <a:cs typeface="Arial" panose="020B0604020202020204" pitchFamily="34" charset="0"/>
              </a:rPr>
              <a:t>（</a:t>
            </a:r>
            <a:r>
              <a:rPr lang="en-US" altLang="zh-CN" sz="1800">
                <a:solidFill>
                  <a:srgbClr val="000000"/>
                </a:solidFill>
                <a:cs typeface="Arial" panose="020B0604020202020204" pitchFamily="34" charset="0"/>
              </a:rPr>
              <a:t>2.2-18.5KW</a:t>
            </a:r>
            <a:r>
              <a:rPr lang="zh-CN" altLang="en-US" sz="1800">
                <a:solidFill>
                  <a:srgbClr val="000000"/>
                </a:solidFill>
                <a:cs typeface="Arial" panose="020B0604020202020204" pitchFamily="34" charset="0"/>
              </a:rPr>
              <a:t>）</a:t>
            </a:r>
            <a:endParaRPr lang="zh-CN" altLang="en-GB" sz="18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02404" name="Picture 5" descr="1220408626023_0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2565400"/>
            <a:ext cx="2376487" cy="309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05" name="Rectangle 6">
            <a:hlinkClick r:id="" action="ppaction://hlinkshowjump?jump=firstslide"/>
          </p:cNvPr>
          <p:cNvSpPr>
            <a:spLocks noChangeArrowheads="1"/>
          </p:cNvSpPr>
          <p:nvPr/>
        </p:nvSpPr>
        <p:spPr bwMode="auto">
          <a:xfrm>
            <a:off x="468313" y="333375"/>
            <a:ext cx="7339012" cy="44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182563" indent="-182563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>
                <a:srgbClr val="04933C"/>
              </a:buClr>
              <a:buFont typeface="Wingdings" panose="05000000000000000000" pitchFamily="2" charset="2"/>
              <a:buNone/>
            </a:pPr>
            <a:r>
              <a:rPr lang="zh-CN" altLang="da-DK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丹佛斯变频器在中国所服务的部分用户</a:t>
            </a:r>
            <a:r>
              <a:rPr lang="da-DK" altLang="zh-CN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		</a:t>
            </a:r>
          </a:p>
        </p:txBody>
      </p:sp>
      <p:sp>
        <p:nvSpPr>
          <p:cNvPr id="102406" name="Rectangle 4"/>
          <p:cNvSpPr>
            <a:spLocks noChangeArrowheads="1"/>
          </p:cNvSpPr>
          <p:nvPr/>
        </p:nvSpPr>
        <p:spPr bwMode="auto">
          <a:xfrm>
            <a:off x="2976563" y="1411288"/>
            <a:ext cx="3024187" cy="785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800" dirty="0">
                <a:solidFill>
                  <a:srgbClr val="000000"/>
                </a:solidFill>
                <a:cs typeface="Arial" panose="020B0604020202020204" pitchFamily="34" charset="0"/>
              </a:rPr>
              <a:t>上海中心</a:t>
            </a:r>
            <a:endParaRPr lang="en-US" altLang="zh-CN" sz="18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zh-CN" sz="1800" dirty="0">
                <a:solidFill>
                  <a:srgbClr val="000000"/>
                </a:solidFill>
                <a:cs typeface="Arial" panose="020B0604020202020204" pitchFamily="34" charset="0"/>
              </a:rPr>
              <a:t>600 pcs</a:t>
            </a:r>
            <a:r>
              <a:rPr lang="zh-CN" altLang="en-US" sz="1800" dirty="0">
                <a:solidFill>
                  <a:srgbClr val="000000"/>
                </a:solidFill>
                <a:cs typeface="Arial" panose="020B0604020202020204" pitchFamily="34" charset="0"/>
              </a:rPr>
              <a:t>（</a:t>
            </a:r>
            <a:r>
              <a:rPr lang="en-US" altLang="zh-CN" sz="1800" dirty="0">
                <a:solidFill>
                  <a:srgbClr val="000000"/>
                </a:solidFill>
                <a:cs typeface="Arial" panose="020B0604020202020204" pitchFamily="34" charset="0"/>
              </a:rPr>
              <a:t>1.1-315KW</a:t>
            </a:r>
            <a:r>
              <a:rPr lang="zh-CN" altLang="en-US" sz="1800" dirty="0">
                <a:solidFill>
                  <a:srgbClr val="000000"/>
                </a:solidFill>
                <a:cs typeface="Arial" panose="020B0604020202020204" pitchFamily="34" charset="0"/>
              </a:rPr>
              <a:t>）</a:t>
            </a:r>
            <a:endParaRPr lang="zh-CN" altLang="en-GB" sz="18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02407" name="Picture 2" descr="http://f.hiphotos.baidu.com/baike/w%3D268%3Bg%3D0/sign=77b530744d90f60304b09b410129d426/91ef76c6a7efce1b6021748fa851f3deb48f6569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0750" y="1149350"/>
            <a:ext cx="2552700" cy="352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4733769"/>
      </p:ext>
    </p:extLst>
  </p:cSld>
  <p:clrMapOvr>
    <a:masterClrMapping/>
  </p:clrMapOvr>
  <p:transition spd="slow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081" name="Picture 9" descr="北京首都国际机场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3438" y="1168400"/>
            <a:ext cx="4500562" cy="2941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27" name="Rectangle 10">
            <a:hlinkClick r:id="" action="ppaction://hlinkshowjump?jump=firstslide"/>
          </p:cNvPr>
          <p:cNvSpPr>
            <a:spLocks noChangeArrowheads="1"/>
          </p:cNvSpPr>
          <p:nvPr/>
        </p:nvSpPr>
        <p:spPr bwMode="auto">
          <a:xfrm>
            <a:off x="468313" y="333375"/>
            <a:ext cx="7339012" cy="44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182563" indent="-182563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>
                <a:srgbClr val="04933C"/>
              </a:buClr>
              <a:buFont typeface="Wingdings" panose="05000000000000000000" pitchFamily="2" charset="2"/>
              <a:buNone/>
            </a:pPr>
            <a:r>
              <a:rPr lang="zh-CN" altLang="da-DK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丹佛斯变频器在中国所服务的部分用户</a:t>
            </a:r>
            <a:r>
              <a:rPr lang="da-DK" altLang="zh-CN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		</a:t>
            </a:r>
          </a:p>
        </p:txBody>
      </p:sp>
      <p:sp>
        <p:nvSpPr>
          <p:cNvPr id="131083" name="AutoShape 11"/>
          <p:cNvSpPr>
            <a:spLocks noChangeArrowheads="1"/>
          </p:cNvSpPr>
          <p:nvPr/>
        </p:nvSpPr>
        <p:spPr bwMode="auto">
          <a:xfrm>
            <a:off x="684213" y="1125538"/>
            <a:ext cx="3024187" cy="1368425"/>
          </a:xfrm>
          <a:prstGeom prst="wedgeRoundRectCallout">
            <a:avLst>
              <a:gd name="adj1" fmla="val 80972"/>
              <a:gd name="adj2" fmla="val 51278"/>
              <a:gd name="adj3" fmla="val 16667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北京首都国际机场</a:t>
            </a:r>
            <a:endParaRPr lang="en-US" altLang="zh-CN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中央空调冷冻站，风机系统以及供热水泵系统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281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台（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1.1-315KW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）</a:t>
            </a:r>
            <a:endParaRPr lang="zh-CN" altLang="en-GB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31086" name="AutoShape 14"/>
          <p:cNvSpPr>
            <a:spLocks noChangeArrowheads="1"/>
          </p:cNvSpPr>
          <p:nvPr/>
        </p:nvSpPr>
        <p:spPr bwMode="auto">
          <a:xfrm>
            <a:off x="5219700" y="4724400"/>
            <a:ext cx="3024188" cy="1368425"/>
          </a:xfrm>
          <a:prstGeom prst="wedgeRoundRectCallout">
            <a:avLst>
              <a:gd name="adj1" fmla="val -69528"/>
              <a:gd name="adj2" fmla="val -42227"/>
              <a:gd name="adj3" fmla="val 16667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上海浦东国际机场</a:t>
            </a:r>
            <a:endParaRPr lang="en-US" altLang="zh-CN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中央空调冷冻站，风机系统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152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台（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1.1-355KW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）</a:t>
            </a:r>
            <a:endParaRPr lang="zh-CN" altLang="en-GB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31087" name="Picture 15" descr="浦东国际机场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19438"/>
            <a:ext cx="4643438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8008244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31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0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310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5" dur="2000"/>
                                        <p:tgtEl>
                                          <p:spTgt spid="131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8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0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8" dur="2000"/>
                                        <p:tgtEl>
                                          <p:spTgt spid="1310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083" grpId="0" animBg="1"/>
      <p:bldP spid="13108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3">
            <a:hlinkClick r:id="" action="ppaction://hlinkshowjump?jump=firstslide"/>
          </p:cNvPr>
          <p:cNvSpPr>
            <a:spLocks noChangeArrowheads="1"/>
          </p:cNvSpPr>
          <p:nvPr/>
        </p:nvSpPr>
        <p:spPr bwMode="auto">
          <a:xfrm>
            <a:off x="468313" y="333375"/>
            <a:ext cx="7339012" cy="44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182563" indent="-182563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>
                <a:srgbClr val="04933C"/>
              </a:buClr>
              <a:buFont typeface="Wingdings" panose="05000000000000000000" pitchFamily="2" charset="2"/>
              <a:buNone/>
            </a:pPr>
            <a:r>
              <a:rPr lang="zh-CN" altLang="da-DK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丹佛斯变频器在中国所服务的部分用户</a:t>
            </a:r>
            <a:r>
              <a:rPr lang="da-DK" altLang="zh-CN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		</a:t>
            </a:r>
          </a:p>
        </p:txBody>
      </p:sp>
      <p:sp>
        <p:nvSpPr>
          <p:cNvPr id="427012" name="AutoShape 4"/>
          <p:cNvSpPr>
            <a:spLocks noChangeArrowheads="1"/>
          </p:cNvSpPr>
          <p:nvPr/>
        </p:nvSpPr>
        <p:spPr bwMode="auto">
          <a:xfrm>
            <a:off x="179388" y="1125538"/>
            <a:ext cx="3529012" cy="1368425"/>
          </a:xfrm>
          <a:prstGeom prst="wedgeRoundRectCallout">
            <a:avLst>
              <a:gd name="adj1" fmla="val 76542"/>
              <a:gd name="adj2" fmla="val 51278"/>
              <a:gd name="adj3" fmla="val 16667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上海虹桥综合交通枢纽</a:t>
            </a:r>
            <a:endParaRPr lang="en-US" altLang="zh-CN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中央空调冷冻站，风机系统以及供热水泵系统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600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台，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FC102+AHF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（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1.1-250KW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）</a:t>
            </a:r>
            <a:endParaRPr lang="zh-CN" altLang="en-GB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427015" name="Picture 7" descr="上海虹桥机场图片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578"/>
          <a:stretch>
            <a:fillRect/>
          </a:stretch>
        </p:blipFill>
        <p:spPr bwMode="auto">
          <a:xfrm>
            <a:off x="4643438" y="855663"/>
            <a:ext cx="4500562" cy="322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7016" name="Text Box 8"/>
          <p:cNvSpPr txBox="1">
            <a:spLocks noChangeArrowheads="1"/>
          </p:cNvSpPr>
          <p:nvPr/>
        </p:nvSpPr>
        <p:spPr bwMode="auto">
          <a:xfrm>
            <a:off x="466725" y="2852738"/>
            <a:ext cx="2376488" cy="3176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GB" sz="1400">
                <a:solidFill>
                  <a:srgbClr val="000000"/>
                </a:solidFill>
                <a:cs typeface="Arial" panose="020B0604020202020204" pitchFamily="34" charset="0"/>
              </a:rPr>
              <a:t>我们服务机场客户还有：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GB" sz="1400">
                <a:solidFill>
                  <a:srgbClr val="000000"/>
                </a:solidFill>
                <a:cs typeface="Arial" panose="020B0604020202020204" pitchFamily="34" charset="0"/>
              </a:rPr>
              <a:t>成都双流机场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GB" sz="1400">
                <a:solidFill>
                  <a:srgbClr val="000000"/>
                </a:solidFill>
                <a:cs typeface="Arial" panose="020B0604020202020204" pitchFamily="34" charset="0"/>
              </a:rPr>
              <a:t>重庆江北机场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GB" sz="1400">
                <a:solidFill>
                  <a:srgbClr val="000000"/>
                </a:solidFill>
                <a:cs typeface="Arial" panose="020B0604020202020204" pitchFamily="34" charset="0"/>
              </a:rPr>
              <a:t>昆明机场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GB" sz="1400">
                <a:solidFill>
                  <a:srgbClr val="000000"/>
                </a:solidFill>
                <a:cs typeface="Arial" panose="020B0604020202020204" pitchFamily="34" charset="0"/>
              </a:rPr>
              <a:t>广州白云机场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GB" sz="1400">
                <a:solidFill>
                  <a:srgbClr val="000000"/>
                </a:solidFill>
                <a:cs typeface="Arial" panose="020B0604020202020204" pitchFamily="34" charset="0"/>
              </a:rPr>
              <a:t>天津新机场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GB" sz="1400">
                <a:solidFill>
                  <a:srgbClr val="000000"/>
                </a:solidFill>
                <a:cs typeface="Arial" panose="020B0604020202020204" pitchFamily="34" charset="0"/>
              </a:rPr>
              <a:t>青岛流亭国际机场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GB" sz="1400">
                <a:solidFill>
                  <a:srgbClr val="000000"/>
                </a:solidFill>
                <a:cs typeface="Arial" panose="020B0604020202020204" pitchFamily="34" charset="0"/>
              </a:rPr>
              <a:t>深圳机场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GB" sz="1400">
                <a:solidFill>
                  <a:srgbClr val="000000"/>
                </a:solidFill>
                <a:cs typeface="Arial" panose="020B0604020202020204" pitchFamily="34" charset="0"/>
              </a:rPr>
              <a:t>南京禄口机场</a:t>
            </a:r>
            <a:endParaRPr lang="en-GB" altLang="zh-CN" sz="140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GB" altLang="zh-CN" sz="1400">
                <a:solidFill>
                  <a:srgbClr val="000000"/>
                </a:solidFill>
                <a:cs typeface="Arial" panose="020B0604020202020204" pitchFamily="34" charset="0"/>
              </a:rPr>
              <a:t>…………</a:t>
            </a:r>
          </a:p>
        </p:txBody>
      </p:sp>
    </p:spTree>
    <p:extLst>
      <p:ext uri="{BB962C8B-B14F-4D97-AF65-F5344CB8AC3E}">
        <p14:creationId xmlns:p14="http://schemas.microsoft.com/office/powerpoint/2010/main" val="3519807033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70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270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70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70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7012" grpId="0" animBg="1"/>
      <p:bldP spid="42701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9252" name="Picture 4" descr="广州地铁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7900" y="1125538"/>
            <a:ext cx="4356100" cy="326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475" name="Rectangle 6">
            <a:hlinkClick r:id="" action="ppaction://hlinkshowjump?jump=firstslide"/>
          </p:cNvPr>
          <p:cNvSpPr>
            <a:spLocks noChangeArrowheads="1"/>
          </p:cNvSpPr>
          <p:nvPr/>
        </p:nvSpPr>
        <p:spPr bwMode="auto">
          <a:xfrm>
            <a:off x="468313" y="333375"/>
            <a:ext cx="7339012" cy="44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182563" indent="-182563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>
                <a:srgbClr val="04933C"/>
              </a:buClr>
              <a:buFont typeface="Wingdings" panose="05000000000000000000" pitchFamily="2" charset="2"/>
              <a:buNone/>
            </a:pPr>
            <a:r>
              <a:rPr lang="zh-CN" altLang="da-DK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丹佛斯变频器在中国所服务的部分用户</a:t>
            </a:r>
            <a:r>
              <a:rPr lang="da-DK" altLang="zh-CN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		</a:t>
            </a:r>
          </a:p>
        </p:txBody>
      </p:sp>
      <p:pic>
        <p:nvPicPr>
          <p:cNvPr id="309257" name="Picture 9" descr="广州琶洲国际会展中心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84488"/>
            <a:ext cx="4787900" cy="332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9258" name="AutoShape 10"/>
          <p:cNvSpPr>
            <a:spLocks noChangeArrowheads="1"/>
          </p:cNvSpPr>
          <p:nvPr/>
        </p:nvSpPr>
        <p:spPr bwMode="auto">
          <a:xfrm>
            <a:off x="757238" y="1412875"/>
            <a:ext cx="3024187" cy="1368425"/>
          </a:xfrm>
          <a:prstGeom prst="wedgeRoundRectCallout">
            <a:avLst>
              <a:gd name="adj1" fmla="val 83019"/>
              <a:gd name="adj2" fmla="val 51278"/>
              <a:gd name="adj3" fmla="val 16667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广州地铁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2-5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号线</a:t>
            </a:r>
            <a:endParaRPr lang="en-US" altLang="zh-CN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中央冷站水泵，车站空调风系统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60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台（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11-110KW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）</a:t>
            </a:r>
            <a:endParaRPr lang="zh-CN" altLang="en-GB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09259" name="AutoShape 11"/>
          <p:cNvSpPr>
            <a:spLocks noChangeArrowheads="1"/>
          </p:cNvSpPr>
          <p:nvPr/>
        </p:nvSpPr>
        <p:spPr bwMode="auto">
          <a:xfrm>
            <a:off x="5292725" y="4868863"/>
            <a:ext cx="3024188" cy="1152525"/>
          </a:xfrm>
          <a:prstGeom prst="wedgeRoundRectCallout">
            <a:avLst>
              <a:gd name="adj1" fmla="val -66852"/>
              <a:gd name="adj2" fmla="val -57852"/>
              <a:gd name="adj3" fmla="val 16667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广州国际会展中心</a:t>
            </a:r>
            <a:endParaRPr lang="en-US" altLang="zh-CN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中央空调冷冻水泵，风机系统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192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台（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37-110KW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）</a:t>
            </a:r>
            <a:endParaRPr lang="zh-CN" altLang="en-GB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69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092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092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092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092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09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09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9258" grpId="0" animBg="1"/>
      <p:bldP spid="30925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3">
            <a:hlinkClick r:id="" action="ppaction://hlinkshowjump?jump=firstslide"/>
          </p:cNvPr>
          <p:cNvSpPr>
            <a:spLocks noChangeArrowheads="1"/>
          </p:cNvSpPr>
          <p:nvPr/>
        </p:nvSpPr>
        <p:spPr bwMode="auto">
          <a:xfrm>
            <a:off x="468313" y="333375"/>
            <a:ext cx="7339012" cy="44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182563" indent="-182563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>
                <a:srgbClr val="04933C"/>
              </a:buClr>
              <a:buFont typeface="Wingdings" panose="05000000000000000000" pitchFamily="2" charset="2"/>
              <a:buNone/>
            </a:pPr>
            <a:r>
              <a:rPr lang="zh-CN" altLang="da-DK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丹佛斯变频器在中国所服务的部分用户</a:t>
            </a:r>
            <a:r>
              <a:rPr lang="da-DK" altLang="zh-CN" sz="2800" b="1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		</a:t>
            </a:r>
          </a:p>
        </p:txBody>
      </p:sp>
      <p:sp>
        <p:nvSpPr>
          <p:cNvPr id="428037" name="AutoShape 5"/>
          <p:cNvSpPr>
            <a:spLocks noChangeArrowheads="1"/>
          </p:cNvSpPr>
          <p:nvPr/>
        </p:nvSpPr>
        <p:spPr bwMode="auto">
          <a:xfrm>
            <a:off x="757238" y="1196975"/>
            <a:ext cx="3024187" cy="1368425"/>
          </a:xfrm>
          <a:prstGeom prst="wedgeRoundRectCallout">
            <a:avLst>
              <a:gd name="adj1" fmla="val 83019"/>
              <a:gd name="adj2" fmla="val 51278"/>
              <a:gd name="adj3" fmla="val 16667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上海地铁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2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、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9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、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10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号线</a:t>
            </a:r>
            <a:endParaRPr lang="en-US" altLang="zh-CN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车站空调风系统、隧道通风系统</a:t>
            </a:r>
            <a:endParaRPr lang="en-US" altLang="zh-CN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约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400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台变频器（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11-132KW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）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GB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80</a:t>
            </a:r>
            <a:r>
              <a:rPr lang="zh-CN" altLang="en-GB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台软启动器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（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75-132KW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）</a:t>
            </a:r>
            <a:endParaRPr lang="en-GB" altLang="zh-CN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28038" name="AutoShape 6"/>
          <p:cNvSpPr>
            <a:spLocks noChangeArrowheads="1"/>
          </p:cNvSpPr>
          <p:nvPr/>
        </p:nvSpPr>
        <p:spPr bwMode="auto">
          <a:xfrm>
            <a:off x="5292725" y="4868863"/>
            <a:ext cx="3024188" cy="1152525"/>
          </a:xfrm>
          <a:prstGeom prst="wedgeRoundRectCallout">
            <a:avLst>
              <a:gd name="adj1" fmla="val -66852"/>
              <a:gd name="adj2" fmla="val -57852"/>
              <a:gd name="adj3" fmla="val 16667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北京国家大剧院</a:t>
            </a:r>
            <a:endParaRPr lang="en-US" altLang="zh-CN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中央空调冷冻水泵，风机系统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102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台（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1.1-90KW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）</a:t>
            </a:r>
            <a:endParaRPr lang="zh-CN" altLang="en-GB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106501" name="Picture 7" descr="20083391042282_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1"/>
          <a:stretch>
            <a:fillRect/>
          </a:stretch>
        </p:blipFill>
        <p:spPr bwMode="auto">
          <a:xfrm>
            <a:off x="4787900" y="981075"/>
            <a:ext cx="4356100" cy="328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502" name="Picture 8" descr="国家大剧院图片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54"/>
          <a:stretch>
            <a:fillRect/>
          </a:stretch>
        </p:blipFill>
        <p:spPr bwMode="auto">
          <a:xfrm>
            <a:off x="0" y="3054350"/>
            <a:ext cx="4787900" cy="306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1833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80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80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280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8037" grpId="0" animBg="1"/>
      <p:bldP spid="428038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0276" name="Picture 4" descr="上海国际会议中心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1213" y="3068638"/>
            <a:ext cx="4522787" cy="310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523" name="Rectangle 7">
            <a:hlinkClick r:id="" action="ppaction://hlinkshowjump?jump=firstslide"/>
          </p:cNvPr>
          <p:cNvSpPr>
            <a:spLocks noChangeArrowheads="1"/>
          </p:cNvSpPr>
          <p:nvPr/>
        </p:nvSpPr>
        <p:spPr bwMode="auto">
          <a:xfrm>
            <a:off x="468313" y="333375"/>
            <a:ext cx="7339012" cy="44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182563" indent="-182563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>
                <a:srgbClr val="04933C"/>
              </a:buClr>
              <a:buFont typeface="Wingdings" panose="05000000000000000000" pitchFamily="2" charset="2"/>
              <a:buNone/>
            </a:pPr>
            <a:r>
              <a:rPr lang="zh-CN" altLang="da-DK" sz="2800" b="1" dirty="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丹佛斯变频器在中国所服务的部分用户</a:t>
            </a:r>
            <a:r>
              <a:rPr lang="da-DK" altLang="zh-CN" sz="2800" b="1" dirty="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		</a:t>
            </a:r>
          </a:p>
        </p:txBody>
      </p:sp>
      <p:sp>
        <p:nvSpPr>
          <p:cNvPr id="310281" name="AutoShape 9"/>
          <p:cNvSpPr>
            <a:spLocks noChangeArrowheads="1"/>
          </p:cNvSpPr>
          <p:nvPr/>
        </p:nvSpPr>
        <p:spPr bwMode="auto">
          <a:xfrm>
            <a:off x="5508625" y="1339850"/>
            <a:ext cx="3024188" cy="1152525"/>
          </a:xfrm>
          <a:prstGeom prst="wedgeRoundRectCallout">
            <a:avLst>
              <a:gd name="adj1" fmla="val 9894"/>
              <a:gd name="adj2" fmla="val 95731"/>
              <a:gd name="adj3" fmla="val 16667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上海国际会议中心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中央空调水泵风机系统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53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台（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4-75KW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）</a:t>
            </a:r>
            <a:endParaRPr lang="zh-CN" altLang="en-GB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</p:txBody>
      </p:sp>
      <p:pic>
        <p:nvPicPr>
          <p:cNvPr id="310282" name="Picture 10" descr="香港迪斯尼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068638"/>
            <a:ext cx="4641850" cy="309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0283" name="AutoShape 11"/>
          <p:cNvSpPr>
            <a:spLocks noChangeArrowheads="1"/>
          </p:cNvSpPr>
          <p:nvPr/>
        </p:nvSpPr>
        <p:spPr bwMode="auto">
          <a:xfrm>
            <a:off x="468313" y="1412875"/>
            <a:ext cx="4173537" cy="1079500"/>
          </a:xfrm>
          <a:prstGeom prst="wedgeRoundRectCallout">
            <a:avLst>
              <a:gd name="adj1" fmla="val -5278"/>
              <a:gd name="adj2" fmla="val 102648"/>
              <a:gd name="adj3" fmla="val 16667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 typeface="Verdana" panose="020B0604030504040204" pitchFamily="34" charset="0"/>
              <a:buChar char="•"/>
              <a:defRPr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 typeface="Verdana" panose="020B0604030504040204" pitchFamily="34" charset="0"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香港迪斯尼乐园     中央空调集中冷站水泵</a:t>
            </a: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Tx/>
              <a:buNone/>
            </a:pPr>
            <a:endParaRPr lang="en-US" altLang="zh-CN" sz="1400">
              <a:solidFill>
                <a:srgbClr val="000000"/>
              </a:solidFill>
              <a:ea typeface="幼圆" panose="02010509060101010101" pitchFamily="49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50000"/>
              </a:spcBef>
              <a:spcAft>
                <a:spcPct val="0"/>
              </a:spcAft>
              <a:buClrTx/>
              <a:buFont typeface="Verdana" panose="020B0604030504040204" pitchFamily="34" charset="0"/>
              <a:buNone/>
            </a:pP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上海迪斯尼乐园     中央空调   </a:t>
            </a:r>
            <a:r>
              <a:rPr lang="en-US" altLang="zh-CN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300</a:t>
            </a:r>
            <a:r>
              <a:rPr lang="zh-CN" altLang="en-US" sz="1400">
                <a:solidFill>
                  <a:srgbClr val="000000"/>
                </a:solidFill>
                <a:ea typeface="幼圆" panose="02010509060101010101" pitchFamily="49" charset="-122"/>
                <a:cs typeface="Arial" panose="020B0604020202020204" pitchFamily="34" charset="0"/>
              </a:rPr>
              <a:t>台丹佛斯柜机</a:t>
            </a:r>
          </a:p>
        </p:txBody>
      </p:sp>
    </p:spTree>
    <p:extLst>
      <p:ext uri="{BB962C8B-B14F-4D97-AF65-F5344CB8AC3E}">
        <p14:creationId xmlns:p14="http://schemas.microsoft.com/office/powerpoint/2010/main" val="1206077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02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02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102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102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102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102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102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102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0281" grpId="0" animBg="1"/>
      <p:bldP spid="31028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9144000" cy="6858000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419100" y="2498647"/>
              <a:ext cx="8308975" cy="15388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ts val="6000"/>
                </a:lnSpc>
              </a:pPr>
              <a:r>
                <a:rPr lang="da-DK" sz="5200" dirty="0">
                  <a:solidFill>
                    <a:schemeClr val="bg1"/>
                  </a:solidFill>
                </a:rPr>
                <a:t>A </a:t>
              </a:r>
              <a:r>
                <a:rPr lang="da-DK" sz="5200" dirty="0" err="1">
                  <a:solidFill>
                    <a:schemeClr val="bg1"/>
                  </a:solidFill>
                </a:rPr>
                <a:t>better</a:t>
              </a:r>
              <a:r>
                <a:rPr lang="da-DK" sz="5200" dirty="0">
                  <a:solidFill>
                    <a:schemeClr val="bg1"/>
                  </a:solidFill>
                </a:rPr>
                <a:t> </a:t>
              </a:r>
              <a:r>
                <a:rPr lang="da-DK" sz="5200" dirty="0" err="1">
                  <a:solidFill>
                    <a:schemeClr val="bg1"/>
                  </a:solidFill>
                </a:rPr>
                <a:t>tomorrow</a:t>
              </a:r>
              <a:r>
                <a:rPr lang="da-DK" sz="5200" dirty="0">
                  <a:solidFill>
                    <a:schemeClr val="bg1"/>
                  </a:solidFill>
                </a:rPr>
                <a:t> is</a:t>
              </a:r>
            </a:p>
            <a:p>
              <a:pPr algn="ctr">
                <a:lnSpc>
                  <a:spcPts val="6000"/>
                </a:lnSpc>
              </a:pPr>
              <a:r>
                <a:rPr lang="da-DK" sz="5200" b="1" dirty="0">
                  <a:solidFill>
                    <a:schemeClr val="bg1"/>
                  </a:solidFill>
                </a:rPr>
                <a:t>driven by driv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77693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419095" y="1390769"/>
            <a:ext cx="1944000" cy="4814807"/>
          </a:xfrm>
          <a:prstGeom prst="rect">
            <a:avLst/>
          </a:prstGeom>
          <a:solidFill>
            <a:srgbClr val="C00000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latin typeface="+mn-ea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544803" y="1390769"/>
            <a:ext cx="1944000" cy="4814807"/>
          </a:xfrm>
          <a:prstGeom prst="rect">
            <a:avLst/>
          </a:prstGeom>
          <a:solidFill>
            <a:srgbClr val="C00000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latin typeface="+mn-ea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670511" y="1390769"/>
            <a:ext cx="1944000" cy="4814807"/>
          </a:xfrm>
          <a:prstGeom prst="rect">
            <a:avLst/>
          </a:prstGeom>
          <a:solidFill>
            <a:srgbClr val="C00000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latin typeface="+mn-ea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796219" y="1390769"/>
            <a:ext cx="1944000" cy="4814807"/>
          </a:xfrm>
          <a:prstGeom prst="rect">
            <a:avLst/>
          </a:prstGeom>
          <a:solidFill>
            <a:srgbClr val="C00000"/>
          </a:solidFill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latin typeface="+mn-ea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19099" y="1517461"/>
            <a:ext cx="1943997" cy="415498"/>
          </a:xfrm>
          <a:prstGeom prst="rect">
            <a:avLst/>
          </a:prstGeom>
          <a:solidFill>
            <a:srgbClr val="C0000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900" b="1" dirty="0">
                <a:solidFill>
                  <a:schemeClr val="bg1"/>
                </a:solidFill>
                <a:latin typeface="+mn-ea"/>
              </a:rPr>
              <a:t>DANFOSS</a:t>
            </a:r>
          </a:p>
          <a:p>
            <a:pPr algn="ctr"/>
            <a:r>
              <a:rPr lang="zh-CN" altLang="en-US" sz="900" b="1" dirty="0">
                <a:solidFill>
                  <a:schemeClr val="bg1"/>
                </a:solidFill>
                <a:latin typeface="+mn-ea"/>
              </a:rPr>
              <a:t>动力系统</a:t>
            </a:r>
            <a:endParaRPr lang="en-US" altLang="zh-CN" sz="900" b="1" dirty="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zh-CN" altLang="en-US" sz="900" b="1" dirty="0">
                <a:solidFill>
                  <a:schemeClr val="bg1"/>
                </a:solidFill>
                <a:latin typeface="+mn-ea"/>
              </a:rPr>
              <a:t>业务占比：</a:t>
            </a:r>
            <a:r>
              <a:rPr lang="en-US" altLang="zh-CN" sz="900" b="1" dirty="0">
                <a:solidFill>
                  <a:schemeClr val="bg1"/>
                </a:solidFill>
                <a:latin typeface="+mn-ea"/>
              </a:rPr>
              <a:t>30%</a:t>
            </a:r>
            <a:endParaRPr lang="en-US" sz="900" b="1" dirty="0">
              <a:solidFill>
                <a:schemeClr val="bg1"/>
              </a:solidFill>
              <a:latin typeface="+mn-ea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544804" y="1517461"/>
            <a:ext cx="195725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900" b="1" dirty="0">
                <a:solidFill>
                  <a:schemeClr val="bg1"/>
                </a:solidFill>
                <a:latin typeface="+mn-ea"/>
              </a:rPr>
              <a:t>DANFOSS</a:t>
            </a:r>
          </a:p>
          <a:p>
            <a:pPr algn="ctr"/>
            <a:r>
              <a:rPr lang="zh-CN" altLang="en-US" sz="900" b="1" dirty="0">
                <a:solidFill>
                  <a:schemeClr val="bg1"/>
                </a:solidFill>
                <a:latin typeface="+mn-ea"/>
              </a:rPr>
              <a:t>制 冷</a:t>
            </a:r>
            <a:endParaRPr lang="en-US" altLang="zh-CN" sz="900" b="1" dirty="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zh-CN" altLang="en-US" sz="900" b="1" dirty="0">
                <a:solidFill>
                  <a:schemeClr val="bg1"/>
                </a:solidFill>
                <a:latin typeface="+mn-ea"/>
              </a:rPr>
              <a:t>业务占比：</a:t>
            </a:r>
            <a:r>
              <a:rPr lang="en-US" altLang="zh-CN" sz="900" b="1" dirty="0">
                <a:solidFill>
                  <a:schemeClr val="bg1"/>
                </a:solidFill>
                <a:latin typeface="+mn-ea"/>
              </a:rPr>
              <a:t>29%</a:t>
            </a:r>
          </a:p>
          <a:p>
            <a:pPr algn="ctr"/>
            <a:endParaRPr lang="en-US" sz="900" b="1" dirty="0" err="1">
              <a:solidFill>
                <a:schemeClr val="bg1"/>
              </a:solidFill>
              <a:latin typeface="+mn-ea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796219" y="1517461"/>
            <a:ext cx="1944000" cy="415498"/>
          </a:xfrm>
          <a:prstGeom prst="rect">
            <a:avLst/>
          </a:prstGeom>
          <a:solidFill>
            <a:srgbClr val="C0000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900" b="1" dirty="0">
                <a:solidFill>
                  <a:schemeClr val="bg1"/>
                </a:solidFill>
                <a:latin typeface="+mn-ea"/>
              </a:rPr>
              <a:t>DANFOSS</a:t>
            </a:r>
          </a:p>
          <a:p>
            <a:pPr algn="ctr"/>
            <a:r>
              <a:rPr lang="zh-CN" altLang="en-US" sz="900" b="1" dirty="0">
                <a:solidFill>
                  <a:schemeClr val="bg1"/>
                </a:solidFill>
                <a:latin typeface="+mn-ea"/>
              </a:rPr>
              <a:t>供 热</a:t>
            </a:r>
            <a:endParaRPr lang="en-US" altLang="zh-CN" sz="900" b="1" dirty="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zh-CN" altLang="en-US" sz="900" b="1" dirty="0">
                <a:solidFill>
                  <a:schemeClr val="bg1"/>
                </a:solidFill>
                <a:latin typeface="+mn-ea"/>
              </a:rPr>
              <a:t>业务占比：</a:t>
            </a:r>
            <a:r>
              <a:rPr lang="en-US" altLang="zh-CN" sz="900" b="1" dirty="0">
                <a:solidFill>
                  <a:schemeClr val="bg1"/>
                </a:solidFill>
                <a:latin typeface="+mn-ea"/>
              </a:rPr>
              <a:t>16%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19099" y="2016141"/>
            <a:ext cx="1943996" cy="0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2544803" y="2016141"/>
            <a:ext cx="1944000" cy="0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4675991" y="2016141"/>
            <a:ext cx="1938520" cy="0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6782969" y="2016141"/>
            <a:ext cx="1957251" cy="0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4670511" y="1517461"/>
            <a:ext cx="1944000" cy="415498"/>
          </a:xfrm>
          <a:prstGeom prst="rect">
            <a:avLst/>
          </a:prstGeom>
          <a:solidFill>
            <a:srgbClr val="C00000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900" b="1" dirty="0">
                <a:solidFill>
                  <a:schemeClr val="bg1"/>
                </a:solidFill>
                <a:latin typeface="+mn-ea"/>
              </a:rPr>
              <a:t>DANFOSS</a:t>
            </a:r>
          </a:p>
          <a:p>
            <a:pPr algn="ctr"/>
            <a:r>
              <a:rPr lang="zh-CN" altLang="en-US" sz="900" b="1" dirty="0">
                <a:solidFill>
                  <a:schemeClr val="bg1"/>
                </a:solidFill>
                <a:latin typeface="+mn-ea"/>
              </a:rPr>
              <a:t>传 动</a:t>
            </a:r>
            <a:endParaRPr lang="en-US" altLang="zh-CN" sz="900" b="1" dirty="0">
              <a:solidFill>
                <a:schemeClr val="bg1"/>
              </a:solidFill>
              <a:latin typeface="+mn-ea"/>
            </a:endParaRPr>
          </a:p>
          <a:p>
            <a:pPr algn="ctr"/>
            <a:r>
              <a:rPr lang="zh-CN" altLang="en-US" sz="900" b="1" dirty="0">
                <a:solidFill>
                  <a:schemeClr val="bg1"/>
                </a:solidFill>
                <a:latin typeface="+mn-ea"/>
              </a:rPr>
              <a:t>业务占比：</a:t>
            </a:r>
            <a:r>
              <a:rPr lang="en-US" altLang="zh-CN" sz="900" b="1" dirty="0">
                <a:solidFill>
                  <a:schemeClr val="bg1"/>
                </a:solidFill>
                <a:latin typeface="+mn-ea"/>
              </a:rPr>
              <a:t>25%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96184" y="2235458"/>
            <a:ext cx="1211801" cy="1129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>
              <a:latin typeface="+mn-ea"/>
            </a:endParaRPr>
          </a:p>
        </p:txBody>
      </p:sp>
      <p:sp>
        <p:nvSpPr>
          <p:cNvPr id="43" name="Text Box 16"/>
          <p:cNvSpPr txBox="1">
            <a:spLocks noChangeArrowheads="1"/>
          </p:cNvSpPr>
          <p:nvPr/>
        </p:nvSpPr>
        <p:spPr bwMode="auto">
          <a:xfrm>
            <a:off x="782050" y="2209600"/>
            <a:ext cx="1225935" cy="3000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675" b="1" dirty="0">
                <a:solidFill>
                  <a:schemeClr val="bg1"/>
                </a:solidFill>
                <a:latin typeface="+mn-ea"/>
                <a:cs typeface="Arial"/>
              </a:rPr>
              <a:t>静液压</a:t>
            </a:r>
            <a:endParaRPr lang="en-US" sz="675" b="1" dirty="0">
              <a:solidFill>
                <a:schemeClr val="bg1"/>
              </a:solidFill>
              <a:latin typeface="+mn-ea"/>
              <a:cs typeface="Arial"/>
            </a:endParaRPr>
          </a:p>
          <a:p>
            <a:pPr algn="ctr"/>
            <a:r>
              <a:rPr lang="en-US" sz="675" b="1" dirty="0">
                <a:solidFill>
                  <a:schemeClr val="bg1"/>
                </a:solidFill>
                <a:latin typeface="+mn-ea"/>
                <a:cs typeface="Arial"/>
              </a:rPr>
              <a:t>#2</a:t>
            </a:r>
          </a:p>
        </p:txBody>
      </p:sp>
      <p:sp>
        <p:nvSpPr>
          <p:cNvPr id="46" name="Rectangle 45"/>
          <p:cNvSpPr/>
          <p:nvPr/>
        </p:nvSpPr>
        <p:spPr>
          <a:xfrm>
            <a:off x="796184" y="3539472"/>
            <a:ext cx="1211801" cy="1129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>
              <a:latin typeface="+mn-ea"/>
            </a:endParaRPr>
          </a:p>
        </p:txBody>
      </p:sp>
      <p:sp>
        <p:nvSpPr>
          <p:cNvPr id="48" name="Text Box 16"/>
          <p:cNvSpPr txBox="1">
            <a:spLocks noChangeArrowheads="1"/>
          </p:cNvSpPr>
          <p:nvPr/>
        </p:nvSpPr>
        <p:spPr bwMode="auto">
          <a:xfrm>
            <a:off x="782050" y="3513613"/>
            <a:ext cx="1225935" cy="3000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675" dirty="0">
                <a:solidFill>
                  <a:schemeClr val="bg1"/>
                </a:solidFill>
                <a:latin typeface="+mn-ea"/>
                <a:cs typeface="Arial"/>
              </a:rPr>
              <a:t>工作系统</a:t>
            </a:r>
            <a:endParaRPr lang="en-US" sz="675" dirty="0">
              <a:solidFill>
                <a:schemeClr val="bg1"/>
              </a:solidFill>
              <a:latin typeface="+mn-ea"/>
              <a:cs typeface="Arial"/>
            </a:endParaRPr>
          </a:p>
          <a:p>
            <a:pPr algn="ctr"/>
            <a:r>
              <a:rPr lang="en-US" sz="675" b="1" dirty="0">
                <a:solidFill>
                  <a:schemeClr val="bg1"/>
                </a:solidFill>
                <a:latin typeface="+mn-ea"/>
                <a:cs typeface="Arial"/>
              </a:rPr>
              <a:t>#1</a:t>
            </a:r>
          </a:p>
        </p:txBody>
      </p:sp>
      <p:sp>
        <p:nvSpPr>
          <p:cNvPr id="51" name="Rectangle 50"/>
          <p:cNvSpPr/>
          <p:nvPr/>
        </p:nvSpPr>
        <p:spPr>
          <a:xfrm>
            <a:off x="796184" y="4843485"/>
            <a:ext cx="1211801" cy="1129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>
              <a:latin typeface="+mn-ea"/>
            </a:endParaRPr>
          </a:p>
        </p:txBody>
      </p:sp>
      <p:sp>
        <p:nvSpPr>
          <p:cNvPr id="52" name="Text Box 16"/>
          <p:cNvSpPr txBox="1">
            <a:spLocks noChangeArrowheads="1"/>
          </p:cNvSpPr>
          <p:nvPr/>
        </p:nvSpPr>
        <p:spPr bwMode="auto">
          <a:xfrm>
            <a:off x="782050" y="4817626"/>
            <a:ext cx="1225935" cy="3000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675" b="1" dirty="0">
                <a:solidFill>
                  <a:schemeClr val="bg1"/>
                </a:solidFill>
                <a:latin typeface="+mn-ea"/>
                <a:cs typeface="Arial"/>
              </a:rPr>
              <a:t>控制器件</a:t>
            </a:r>
            <a:endParaRPr lang="en-US" sz="675" b="1" dirty="0">
              <a:solidFill>
                <a:schemeClr val="bg1"/>
              </a:solidFill>
              <a:latin typeface="+mn-ea"/>
              <a:cs typeface="Arial"/>
            </a:endParaRPr>
          </a:p>
          <a:p>
            <a:pPr algn="ctr"/>
            <a:r>
              <a:rPr lang="en-US" sz="675" b="1" dirty="0">
                <a:solidFill>
                  <a:schemeClr val="bg1"/>
                </a:solidFill>
                <a:latin typeface="+mn-ea"/>
                <a:cs typeface="Arial"/>
              </a:rPr>
              <a:t>#2</a:t>
            </a:r>
          </a:p>
        </p:txBody>
      </p:sp>
      <p:pic>
        <p:nvPicPr>
          <p:cNvPr id="54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" t="26032" b="13493"/>
          <a:stretch/>
        </p:blipFill>
        <p:spPr bwMode="auto">
          <a:xfrm>
            <a:off x="842572" y="5170719"/>
            <a:ext cx="1130381" cy="76019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" descr="Q:\EC-O\5. Claus Iversen\1.0 Danfoss Governance\1.7 Clausen Meetings\20131221\PS\H1 road roller_front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t="21377" r="7686" b="28521"/>
          <a:stretch/>
        </p:blipFill>
        <p:spPr bwMode="auto">
          <a:xfrm>
            <a:off x="842570" y="2562889"/>
            <a:ext cx="1130382" cy="75999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Rectangle 58"/>
          <p:cNvSpPr/>
          <p:nvPr/>
        </p:nvSpPr>
        <p:spPr>
          <a:xfrm>
            <a:off x="2928784" y="2235458"/>
            <a:ext cx="1211801" cy="1129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>
              <a:latin typeface="+mn-ea"/>
            </a:endParaRPr>
          </a:p>
        </p:txBody>
      </p:sp>
      <p:sp>
        <p:nvSpPr>
          <p:cNvPr id="60" name="Text Box 16"/>
          <p:cNvSpPr txBox="1">
            <a:spLocks noChangeArrowheads="1"/>
          </p:cNvSpPr>
          <p:nvPr/>
        </p:nvSpPr>
        <p:spPr bwMode="auto">
          <a:xfrm>
            <a:off x="2914651" y="2209600"/>
            <a:ext cx="1225935" cy="3000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675" b="1" dirty="0">
                <a:solidFill>
                  <a:schemeClr val="bg1"/>
                </a:solidFill>
                <a:latin typeface="+mn-ea"/>
                <a:cs typeface="Arial"/>
              </a:rPr>
              <a:t>制冷与空调控制</a:t>
            </a:r>
            <a:endParaRPr lang="en-US" sz="675" b="1" dirty="0">
              <a:solidFill>
                <a:schemeClr val="bg1"/>
              </a:solidFill>
              <a:latin typeface="+mn-ea"/>
              <a:cs typeface="Arial"/>
            </a:endParaRPr>
          </a:p>
          <a:p>
            <a:pPr algn="ctr"/>
            <a:r>
              <a:rPr lang="en-US" sz="675" b="1" dirty="0">
                <a:solidFill>
                  <a:schemeClr val="bg1"/>
                </a:solidFill>
                <a:latin typeface="+mn-ea"/>
                <a:cs typeface="Arial"/>
              </a:rPr>
              <a:t>#1</a:t>
            </a:r>
          </a:p>
        </p:txBody>
      </p:sp>
      <p:sp>
        <p:nvSpPr>
          <p:cNvPr id="61" name="Rectangle 60"/>
          <p:cNvSpPr/>
          <p:nvPr/>
        </p:nvSpPr>
        <p:spPr>
          <a:xfrm>
            <a:off x="2928784" y="3539472"/>
            <a:ext cx="1211801" cy="1129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>
              <a:latin typeface="+mn-ea"/>
            </a:endParaRPr>
          </a:p>
        </p:txBody>
      </p:sp>
      <p:sp>
        <p:nvSpPr>
          <p:cNvPr id="62" name="Text Box 16"/>
          <p:cNvSpPr txBox="1">
            <a:spLocks noChangeArrowheads="1"/>
          </p:cNvSpPr>
          <p:nvPr/>
        </p:nvSpPr>
        <p:spPr bwMode="auto">
          <a:xfrm>
            <a:off x="2847567" y="3513614"/>
            <a:ext cx="1379915" cy="3000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675" b="1" dirty="0">
                <a:solidFill>
                  <a:schemeClr val="bg1"/>
                </a:solidFill>
                <a:latin typeface="+mn-ea"/>
                <a:cs typeface="Arial"/>
              </a:rPr>
              <a:t>商用压缩机</a:t>
            </a:r>
            <a:endParaRPr lang="en-US" altLang="zh-CN" sz="675" b="1" dirty="0">
              <a:solidFill>
                <a:schemeClr val="bg1"/>
              </a:solidFill>
              <a:latin typeface="+mn-ea"/>
              <a:cs typeface="Arial"/>
            </a:endParaRPr>
          </a:p>
          <a:p>
            <a:pPr algn="ctr"/>
            <a:r>
              <a:rPr lang="en-US" sz="675" b="1" dirty="0">
                <a:solidFill>
                  <a:schemeClr val="bg1"/>
                </a:solidFill>
                <a:latin typeface="+mn-ea"/>
                <a:cs typeface="Arial"/>
              </a:rPr>
              <a:t>#2</a:t>
            </a:r>
          </a:p>
        </p:txBody>
      </p:sp>
      <p:sp>
        <p:nvSpPr>
          <p:cNvPr id="64" name="Rectangle 63"/>
          <p:cNvSpPr/>
          <p:nvPr/>
        </p:nvSpPr>
        <p:spPr>
          <a:xfrm>
            <a:off x="2928784" y="4843485"/>
            <a:ext cx="1211801" cy="1129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>
              <a:latin typeface="+mn-ea"/>
            </a:endParaRPr>
          </a:p>
        </p:txBody>
      </p:sp>
      <p:sp>
        <p:nvSpPr>
          <p:cNvPr id="66" name="Text Box 16"/>
          <p:cNvSpPr txBox="1">
            <a:spLocks noChangeArrowheads="1"/>
          </p:cNvSpPr>
          <p:nvPr/>
        </p:nvSpPr>
        <p:spPr bwMode="auto">
          <a:xfrm>
            <a:off x="2914651" y="4817627"/>
            <a:ext cx="1225935" cy="3000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675" b="1" dirty="0">
                <a:solidFill>
                  <a:schemeClr val="bg1"/>
                </a:solidFill>
                <a:latin typeface="+mn-ea"/>
                <a:cs typeface="Arial"/>
              </a:rPr>
              <a:t>工业自动化</a:t>
            </a:r>
            <a:endParaRPr lang="en-US" sz="675" b="1" dirty="0">
              <a:solidFill>
                <a:schemeClr val="bg1"/>
              </a:solidFill>
              <a:latin typeface="+mn-ea"/>
              <a:cs typeface="Arial"/>
            </a:endParaRPr>
          </a:p>
          <a:p>
            <a:pPr algn="ctr"/>
            <a:r>
              <a:rPr lang="en-US" sz="675" b="1" dirty="0">
                <a:solidFill>
                  <a:schemeClr val="bg1"/>
                </a:solidFill>
                <a:latin typeface="+mn-ea"/>
                <a:cs typeface="Arial"/>
              </a:rPr>
              <a:t>#2</a:t>
            </a:r>
          </a:p>
        </p:txBody>
      </p:sp>
      <p:sp>
        <p:nvSpPr>
          <p:cNvPr id="71" name="Rectangle 70"/>
          <p:cNvSpPr/>
          <p:nvPr/>
        </p:nvSpPr>
        <p:spPr>
          <a:xfrm>
            <a:off x="5061441" y="2235458"/>
            <a:ext cx="1211801" cy="1129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>
              <a:latin typeface="+mn-ea"/>
            </a:endParaRPr>
          </a:p>
        </p:txBody>
      </p:sp>
      <p:sp>
        <p:nvSpPr>
          <p:cNvPr id="72" name="Text Box 16"/>
          <p:cNvSpPr txBox="1">
            <a:spLocks noChangeArrowheads="1"/>
          </p:cNvSpPr>
          <p:nvPr/>
        </p:nvSpPr>
        <p:spPr bwMode="auto">
          <a:xfrm>
            <a:off x="5047307" y="2209600"/>
            <a:ext cx="1225935" cy="4039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675" b="1" dirty="0">
                <a:solidFill>
                  <a:schemeClr val="bg1"/>
                </a:solidFill>
                <a:latin typeface="+mn-ea"/>
                <a:cs typeface="Arial"/>
              </a:rPr>
              <a:t>低压变频器</a:t>
            </a:r>
            <a:r>
              <a:rPr lang="en-US" altLang="zh-CN" sz="675" b="1" dirty="0">
                <a:solidFill>
                  <a:schemeClr val="bg1"/>
                </a:solidFill>
                <a:latin typeface="+mn-ea"/>
                <a:cs typeface="Arial"/>
              </a:rPr>
              <a:t>VLT+VACON+HOLIP</a:t>
            </a:r>
            <a:endParaRPr lang="en-US" sz="675" b="1" dirty="0">
              <a:solidFill>
                <a:schemeClr val="bg1"/>
              </a:solidFill>
              <a:latin typeface="+mn-ea"/>
              <a:cs typeface="Arial"/>
            </a:endParaRPr>
          </a:p>
          <a:p>
            <a:pPr algn="ctr"/>
            <a:r>
              <a:rPr lang="en-US" sz="675" b="1" dirty="0">
                <a:solidFill>
                  <a:schemeClr val="bg1"/>
                </a:solidFill>
                <a:latin typeface="+mn-ea"/>
                <a:cs typeface="Arial"/>
              </a:rPr>
              <a:t>#2</a:t>
            </a:r>
          </a:p>
        </p:txBody>
      </p:sp>
      <p:sp>
        <p:nvSpPr>
          <p:cNvPr id="73" name="Rectangle 72"/>
          <p:cNvSpPr/>
          <p:nvPr/>
        </p:nvSpPr>
        <p:spPr>
          <a:xfrm>
            <a:off x="5061441" y="3539472"/>
            <a:ext cx="1211801" cy="1129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>
              <a:latin typeface="+mn-ea"/>
            </a:endParaRPr>
          </a:p>
        </p:txBody>
      </p:sp>
      <p:sp>
        <p:nvSpPr>
          <p:cNvPr id="74" name="Text Box 16"/>
          <p:cNvSpPr txBox="1">
            <a:spLocks noChangeArrowheads="1"/>
          </p:cNvSpPr>
          <p:nvPr/>
        </p:nvSpPr>
        <p:spPr bwMode="auto">
          <a:xfrm>
            <a:off x="5047307" y="3513613"/>
            <a:ext cx="1225935" cy="3000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675" dirty="0">
                <a:solidFill>
                  <a:schemeClr val="bg1"/>
                </a:solidFill>
                <a:latin typeface="+mn-ea"/>
                <a:cs typeface="Arial"/>
              </a:rPr>
              <a:t>新能源</a:t>
            </a:r>
            <a:endParaRPr lang="en-US" sz="675" dirty="0">
              <a:solidFill>
                <a:schemeClr val="bg1"/>
              </a:solidFill>
              <a:latin typeface="+mn-ea"/>
              <a:cs typeface="Arial"/>
            </a:endParaRPr>
          </a:p>
          <a:p>
            <a:pPr algn="ctr"/>
            <a:r>
              <a:rPr lang="en-US" sz="675" b="1" dirty="0">
                <a:solidFill>
                  <a:schemeClr val="bg1"/>
                </a:solidFill>
                <a:latin typeface="+mn-ea"/>
                <a:cs typeface="Arial"/>
              </a:rPr>
              <a:t>#1</a:t>
            </a:r>
          </a:p>
        </p:txBody>
      </p:sp>
      <p:sp>
        <p:nvSpPr>
          <p:cNvPr id="76" name="Rectangle 75"/>
          <p:cNvSpPr/>
          <p:nvPr/>
        </p:nvSpPr>
        <p:spPr>
          <a:xfrm>
            <a:off x="5061441" y="4843485"/>
            <a:ext cx="1211801" cy="1129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>
              <a:latin typeface="+mn-ea"/>
            </a:endParaRPr>
          </a:p>
        </p:txBody>
      </p:sp>
      <p:sp>
        <p:nvSpPr>
          <p:cNvPr id="77" name="Text Box 16"/>
          <p:cNvSpPr txBox="1">
            <a:spLocks noChangeArrowheads="1"/>
          </p:cNvSpPr>
          <p:nvPr/>
        </p:nvSpPr>
        <p:spPr bwMode="auto">
          <a:xfrm>
            <a:off x="5047307" y="4817626"/>
            <a:ext cx="1225935" cy="3000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675" b="1" dirty="0">
                <a:solidFill>
                  <a:schemeClr val="bg1"/>
                </a:solidFill>
                <a:latin typeface="+mn-ea"/>
                <a:cs typeface="Arial"/>
              </a:rPr>
              <a:t>硅电力</a:t>
            </a:r>
            <a:endParaRPr lang="en-US" sz="675" b="1" dirty="0">
              <a:solidFill>
                <a:schemeClr val="bg1"/>
              </a:solidFill>
              <a:latin typeface="+mn-ea"/>
              <a:cs typeface="Arial"/>
            </a:endParaRPr>
          </a:p>
          <a:p>
            <a:pPr algn="ctr"/>
            <a:r>
              <a:rPr lang="en-US" sz="675" b="1" dirty="0">
                <a:solidFill>
                  <a:schemeClr val="bg1"/>
                </a:solidFill>
                <a:latin typeface="+mn-ea"/>
                <a:cs typeface="Arial"/>
              </a:rPr>
              <a:t>#6</a:t>
            </a:r>
          </a:p>
        </p:txBody>
      </p:sp>
      <p:sp>
        <p:nvSpPr>
          <p:cNvPr id="82" name="Rectangle 81"/>
          <p:cNvSpPr/>
          <p:nvPr/>
        </p:nvSpPr>
        <p:spPr>
          <a:xfrm>
            <a:off x="7181728" y="2235458"/>
            <a:ext cx="1211801" cy="1129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>
              <a:latin typeface="+mn-ea"/>
            </a:endParaRPr>
          </a:p>
        </p:txBody>
      </p:sp>
      <p:sp>
        <p:nvSpPr>
          <p:cNvPr id="83" name="Text Box 16"/>
          <p:cNvSpPr txBox="1">
            <a:spLocks noChangeArrowheads="1"/>
          </p:cNvSpPr>
          <p:nvPr/>
        </p:nvSpPr>
        <p:spPr bwMode="auto">
          <a:xfrm>
            <a:off x="7167594" y="2209600"/>
            <a:ext cx="1225935" cy="3000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675" b="1" dirty="0">
                <a:solidFill>
                  <a:schemeClr val="bg1"/>
                </a:solidFill>
                <a:latin typeface="+mn-ea"/>
                <a:cs typeface="Arial"/>
              </a:rPr>
              <a:t>住宅供热</a:t>
            </a:r>
            <a:endParaRPr lang="en-US" sz="675" b="1" dirty="0">
              <a:solidFill>
                <a:schemeClr val="bg1"/>
              </a:solidFill>
              <a:latin typeface="+mn-ea"/>
              <a:cs typeface="Arial"/>
            </a:endParaRPr>
          </a:p>
          <a:p>
            <a:pPr algn="ctr"/>
            <a:r>
              <a:rPr lang="en-US" sz="675" b="1" dirty="0">
                <a:solidFill>
                  <a:schemeClr val="bg1"/>
                </a:solidFill>
                <a:latin typeface="+mn-ea"/>
                <a:cs typeface="Arial"/>
              </a:rPr>
              <a:t>#1</a:t>
            </a:r>
          </a:p>
        </p:txBody>
      </p:sp>
      <p:sp>
        <p:nvSpPr>
          <p:cNvPr id="84" name="Rectangle 83"/>
          <p:cNvSpPr/>
          <p:nvPr/>
        </p:nvSpPr>
        <p:spPr>
          <a:xfrm>
            <a:off x="7181728" y="3539472"/>
            <a:ext cx="1211801" cy="1129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>
              <a:latin typeface="+mn-ea"/>
            </a:endParaRPr>
          </a:p>
        </p:txBody>
      </p:sp>
      <p:sp>
        <p:nvSpPr>
          <p:cNvPr id="85" name="Text Box 16"/>
          <p:cNvSpPr txBox="1">
            <a:spLocks noChangeArrowheads="1"/>
          </p:cNvSpPr>
          <p:nvPr/>
        </p:nvSpPr>
        <p:spPr bwMode="auto">
          <a:xfrm>
            <a:off x="7167594" y="3513613"/>
            <a:ext cx="1225935" cy="3000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675" dirty="0">
                <a:solidFill>
                  <a:schemeClr val="bg1"/>
                </a:solidFill>
                <a:latin typeface="+mn-ea"/>
                <a:cs typeface="Arial"/>
              </a:rPr>
              <a:t>区域能源</a:t>
            </a:r>
            <a:endParaRPr lang="en-US" sz="675" dirty="0">
              <a:solidFill>
                <a:schemeClr val="bg1"/>
              </a:solidFill>
              <a:latin typeface="+mn-ea"/>
              <a:cs typeface="Arial"/>
            </a:endParaRPr>
          </a:p>
          <a:p>
            <a:pPr algn="ctr"/>
            <a:r>
              <a:rPr lang="en-US" sz="675" b="1" dirty="0">
                <a:solidFill>
                  <a:schemeClr val="bg1"/>
                </a:solidFill>
                <a:latin typeface="+mn-ea"/>
                <a:cs typeface="Arial"/>
              </a:rPr>
              <a:t>#1</a:t>
            </a:r>
          </a:p>
        </p:txBody>
      </p:sp>
      <p:sp>
        <p:nvSpPr>
          <p:cNvPr id="87" name="Rectangle 86"/>
          <p:cNvSpPr/>
          <p:nvPr/>
        </p:nvSpPr>
        <p:spPr>
          <a:xfrm>
            <a:off x="7181728" y="4843485"/>
            <a:ext cx="1211801" cy="112992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>
              <a:latin typeface="+mn-ea"/>
            </a:endParaRPr>
          </a:p>
        </p:txBody>
      </p:sp>
      <p:sp>
        <p:nvSpPr>
          <p:cNvPr id="88" name="Text Box 16"/>
          <p:cNvSpPr txBox="1">
            <a:spLocks noChangeArrowheads="1"/>
          </p:cNvSpPr>
          <p:nvPr/>
        </p:nvSpPr>
        <p:spPr bwMode="auto">
          <a:xfrm>
            <a:off x="7167594" y="4817626"/>
            <a:ext cx="1225935" cy="3000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zh-CN" altLang="en-US" sz="675" b="1" dirty="0">
                <a:solidFill>
                  <a:schemeClr val="bg1"/>
                </a:solidFill>
                <a:latin typeface="+mn-ea"/>
                <a:cs typeface="Arial"/>
              </a:rPr>
              <a:t>水利平衡</a:t>
            </a:r>
            <a:endParaRPr lang="en-US" sz="675" b="1" dirty="0">
              <a:solidFill>
                <a:schemeClr val="bg1"/>
              </a:solidFill>
              <a:latin typeface="+mn-ea"/>
              <a:cs typeface="Arial"/>
            </a:endParaRPr>
          </a:p>
          <a:p>
            <a:pPr algn="ctr"/>
            <a:r>
              <a:rPr lang="en-US" sz="675" b="1" dirty="0">
                <a:solidFill>
                  <a:schemeClr val="bg1"/>
                </a:solidFill>
                <a:latin typeface="+mn-ea"/>
                <a:cs typeface="Arial"/>
              </a:rPr>
              <a:t>#2</a:t>
            </a:r>
          </a:p>
        </p:txBody>
      </p:sp>
      <p:pic>
        <p:nvPicPr>
          <p:cNvPr id="94" name="Billede 2"/>
          <p:cNvPicPr>
            <a:picLocks noChangeAspect="1"/>
          </p:cNvPicPr>
          <p:nvPr/>
        </p:nvPicPr>
        <p:blipFill rotWithShape="1">
          <a:blip r:embed="rId5"/>
          <a:srcRect l="44254" t="-1" r="64" b="3016"/>
          <a:stretch/>
        </p:blipFill>
        <p:spPr bwMode="auto">
          <a:xfrm flipH="1">
            <a:off x="2975170" y="2562889"/>
            <a:ext cx="547668" cy="75934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</p:pic>
      <p:pic>
        <p:nvPicPr>
          <p:cNvPr id="95" name="Content Placeholder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0" t="8050" r="6097" b="14838"/>
          <a:stretch/>
        </p:blipFill>
        <p:spPr>
          <a:xfrm>
            <a:off x="3522839" y="2562890"/>
            <a:ext cx="576818" cy="75934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96" name="Picture 4" descr="C:\Users\f08350\AppData\Local\Microsoft\Windows\Temporary Internet Files\Content.Outlook\EBN80LTM\Quantum06-FS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8" r="25146" b="1759"/>
          <a:stretch/>
        </p:blipFill>
        <p:spPr bwMode="auto">
          <a:xfrm>
            <a:off x="3522839" y="3866707"/>
            <a:ext cx="582715" cy="76019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9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8" r="41409" b="56"/>
          <a:stretch/>
        </p:blipFill>
        <p:spPr>
          <a:xfrm>
            <a:off x="3521247" y="5170721"/>
            <a:ext cx="581552" cy="76019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9" name="Picture 98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04" t="-1" r="26504" b="-1"/>
          <a:stretch/>
        </p:blipFill>
        <p:spPr>
          <a:xfrm>
            <a:off x="2975171" y="5170721"/>
            <a:ext cx="552446" cy="76019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02" name="Picture 8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" t="1064" r="5289" b="1698"/>
          <a:stretch/>
        </p:blipFill>
        <p:spPr bwMode="auto">
          <a:xfrm>
            <a:off x="5659197" y="2562891"/>
            <a:ext cx="581032" cy="75934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3" name="Picture 7" descr="colourbox1747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130" b="11974"/>
          <a:stretch/>
        </p:blipFill>
        <p:spPr bwMode="auto">
          <a:xfrm>
            <a:off x="5107828" y="2562891"/>
            <a:ext cx="547367" cy="75934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4" descr="File:Logo SMA.svg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4230" y="3912050"/>
            <a:ext cx="764992" cy="670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11280" r="-1" b="26779"/>
          <a:stretch/>
        </p:blipFill>
        <p:spPr bwMode="auto">
          <a:xfrm>
            <a:off x="5667341" y="5170719"/>
            <a:ext cx="572889" cy="760192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0" name="Picture 2" descr="Q:\EC-O\5. Claus Iversen\1.0 Danfoss Governance\1.1 Board Meetings\2013\Heat_Pump_intirior.jpg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84" t="6866" r="19147" b="8467"/>
          <a:stretch/>
        </p:blipFill>
        <p:spPr bwMode="auto">
          <a:xfrm>
            <a:off x="8058706" y="2562891"/>
            <a:ext cx="299790" cy="759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16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9" t="295" r="60230" b="3106"/>
          <a:stretch/>
        </p:blipFill>
        <p:spPr bwMode="auto">
          <a:xfrm>
            <a:off x="7752402" y="2562890"/>
            <a:ext cx="306305" cy="759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Picture 112" descr="map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3" t="21528" r="4320" b="11891"/>
          <a:stretch/>
        </p:blipFill>
        <p:spPr bwMode="auto">
          <a:xfrm>
            <a:off x="7228115" y="3858019"/>
            <a:ext cx="1130382" cy="768881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2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39" t="20642" r="6005" b="13530"/>
          <a:stretch/>
        </p:blipFill>
        <p:spPr bwMode="auto">
          <a:xfrm>
            <a:off x="5100335" y="5170720"/>
            <a:ext cx="554861" cy="76019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0" name="Picture 3"/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59" r="4641" b="4759"/>
          <a:stretch/>
        </p:blipFill>
        <p:spPr bwMode="auto">
          <a:xfrm>
            <a:off x="842572" y="3866706"/>
            <a:ext cx="1130381" cy="760192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120"/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20" t="2245" r="14573" b="2245"/>
          <a:stretch/>
        </p:blipFill>
        <p:spPr>
          <a:xfrm>
            <a:off x="2975172" y="3866707"/>
            <a:ext cx="547667" cy="76133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22" name="Picture 16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976" t="18169" r="8474" b="23498"/>
          <a:stretch/>
        </p:blipFill>
        <p:spPr>
          <a:xfrm>
            <a:off x="7228114" y="2562889"/>
            <a:ext cx="524286" cy="75934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228116" y="2554178"/>
            <a:ext cx="1130381" cy="768881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 dirty="0" err="1">
              <a:latin typeface="+mn-ea"/>
            </a:endParaRPr>
          </a:p>
        </p:txBody>
      </p:sp>
      <p:pic>
        <p:nvPicPr>
          <p:cNvPr id="123" name="Picture 16"/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6" r="8599" b="25947"/>
          <a:stretch/>
        </p:blipFill>
        <p:spPr>
          <a:xfrm>
            <a:off x="7228116" y="5170719"/>
            <a:ext cx="1130380" cy="76019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000" dirty="0"/>
              <a:t>丹佛斯</a:t>
            </a:r>
            <a:r>
              <a:rPr lang="en-GB" sz="3000" dirty="0"/>
              <a:t> </a:t>
            </a:r>
            <a:r>
              <a:rPr lang="zh-CN" altLang="en-US" sz="3000" dirty="0">
                <a:solidFill>
                  <a:schemeClr val="accent1"/>
                </a:solidFill>
              </a:rPr>
              <a:t>业务范围</a:t>
            </a:r>
            <a:br>
              <a:rPr lang="en-US" sz="3000" b="1" dirty="0">
                <a:solidFill>
                  <a:srgbClr val="B6000F"/>
                </a:solidFill>
              </a:rPr>
            </a:br>
            <a:endParaRPr lang="fi-FI" sz="3000" b="1" dirty="0">
              <a:solidFill>
                <a:srgbClr val="B600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6580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3200" dirty="0"/>
              <a:t>丹佛斯传动</a:t>
            </a:r>
            <a:r>
              <a:rPr lang="zh-CN" altLang="en-US" sz="3200" dirty="0">
                <a:solidFill>
                  <a:srgbClr val="E2000F"/>
                </a:solidFill>
              </a:rPr>
              <a:t>业务范围</a:t>
            </a:r>
          </a:p>
        </p:txBody>
      </p:sp>
      <p:pic>
        <p:nvPicPr>
          <p:cNvPr id="4" name="Billede 7" descr="6bd9afb1-114e-475f-a788-74c3013a008d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003" t="354" r="482" b="2087"/>
          <a:stretch/>
        </p:blipFill>
        <p:spPr>
          <a:xfrm>
            <a:off x="419099" y="1874740"/>
            <a:ext cx="2597150" cy="3195637"/>
          </a:xfrm>
          <a:prstGeom prst="rect">
            <a:avLst/>
          </a:prstGeom>
        </p:spPr>
      </p:pic>
      <p:pic>
        <p:nvPicPr>
          <p:cNvPr id="5" name="Billede 2" descr="SiliconPower_02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79" r="23580"/>
          <a:stretch/>
        </p:blipFill>
        <p:spPr>
          <a:xfrm>
            <a:off x="3276902" y="1874740"/>
            <a:ext cx="2602937" cy="3195637"/>
          </a:xfrm>
          <a:prstGeom prst="rect">
            <a:avLst/>
          </a:prstGeom>
        </p:spPr>
      </p:pic>
      <p:pic>
        <p:nvPicPr>
          <p:cNvPr id="6" name="Billede 1" descr="VACON-Maintenance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16" r="30841" b="937"/>
          <a:stretch/>
        </p:blipFill>
        <p:spPr>
          <a:xfrm>
            <a:off x="6140189" y="1874740"/>
            <a:ext cx="2590801" cy="3195637"/>
          </a:xfrm>
          <a:prstGeom prst="rect">
            <a:avLst/>
          </a:prstGeom>
        </p:spPr>
      </p:pic>
      <p:sp>
        <p:nvSpPr>
          <p:cNvPr id="7" name="Rektangel 23"/>
          <p:cNvSpPr/>
          <p:nvPr/>
        </p:nvSpPr>
        <p:spPr>
          <a:xfrm>
            <a:off x="3276797" y="1874740"/>
            <a:ext cx="2592000" cy="3195637"/>
          </a:xfrm>
          <a:prstGeom prst="rect">
            <a:avLst/>
          </a:prstGeom>
          <a:solidFill>
            <a:schemeClr val="accent5">
              <a:lumMod val="50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Rektangel 51"/>
          <p:cNvSpPr/>
          <p:nvPr/>
        </p:nvSpPr>
        <p:spPr>
          <a:xfrm>
            <a:off x="419099" y="1874740"/>
            <a:ext cx="2592000" cy="3195637"/>
          </a:xfrm>
          <a:prstGeom prst="rect">
            <a:avLst/>
          </a:prstGeom>
          <a:solidFill>
            <a:schemeClr val="accent5">
              <a:lumMod val="50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Rektangel 53"/>
          <p:cNvSpPr/>
          <p:nvPr/>
        </p:nvSpPr>
        <p:spPr>
          <a:xfrm>
            <a:off x="6138989" y="1874740"/>
            <a:ext cx="2592000" cy="3195637"/>
          </a:xfrm>
          <a:prstGeom prst="rect">
            <a:avLst/>
          </a:prstGeom>
          <a:solidFill>
            <a:schemeClr val="accent5">
              <a:lumMod val="50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" name="Pladsholder til indhold 2"/>
          <p:cNvSpPr txBox="1">
            <a:spLocks/>
          </p:cNvSpPr>
          <p:nvPr/>
        </p:nvSpPr>
        <p:spPr>
          <a:xfrm>
            <a:off x="589493" y="2013035"/>
            <a:ext cx="2057137" cy="3057342"/>
          </a:xfrm>
          <a:prstGeom prst="rect">
            <a:avLst/>
          </a:prstGeom>
        </p:spPr>
        <p:txBody>
          <a:bodyPr lIns="0" tIns="0" rIns="0" bIns="0"/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低压变频器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2</a:t>
            </a:r>
          </a:p>
          <a:p>
            <a:pPr marL="0" marR="0" lvl="0" indent="0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亿欧元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净销售额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.5</a:t>
            </a:r>
            <a:endParaRPr kumimoji="0" lang="en-US" sz="6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部门销售占比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89%</a:t>
            </a:r>
          </a:p>
          <a:p>
            <a:pPr marL="182563" marR="0" lvl="0" indent="-182563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Char char="•"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Pladsholder til indhold 2"/>
          <p:cNvSpPr txBox="1">
            <a:spLocks/>
          </p:cNvSpPr>
          <p:nvPr/>
        </p:nvSpPr>
        <p:spPr>
          <a:xfrm>
            <a:off x="3478481" y="2021504"/>
            <a:ext cx="1829857" cy="3133189"/>
          </a:xfrm>
          <a:prstGeom prst="rect">
            <a:avLst/>
          </a:prstGeom>
        </p:spPr>
        <p:txBody>
          <a:bodyPr lIns="0" tIns="0" rIns="0" bIns="0"/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硅电力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6</a:t>
            </a:r>
          </a:p>
          <a:p>
            <a:pPr marL="0" marR="0" lvl="0" indent="0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lvl="0" indent="0">
              <a:buNone/>
              <a:defRPr/>
            </a:pPr>
            <a:r>
              <a:rPr lang="zh-CN" altLang="en-US" sz="1000" dirty="0">
                <a:solidFill>
                  <a:srgbClr val="FFFFFF"/>
                </a:solidFill>
              </a:rPr>
              <a:t>亿欧元</a:t>
            </a:r>
            <a:r>
              <a:rPr lang="en-US" altLang="zh-CN" sz="1000" dirty="0">
                <a:solidFill>
                  <a:srgbClr val="FFFFFF"/>
                </a:solidFill>
              </a:rPr>
              <a:t> </a:t>
            </a:r>
            <a:r>
              <a:rPr lang="zh-CN" altLang="en-US" sz="1000" dirty="0">
                <a:solidFill>
                  <a:srgbClr val="FFFFFF"/>
                </a:solidFill>
              </a:rPr>
              <a:t>净销售额</a:t>
            </a:r>
            <a:endParaRPr lang="en-US" altLang="zh-CN" b="1" dirty="0">
              <a:solidFill>
                <a:srgbClr val="FFFFFF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.1</a:t>
            </a:r>
          </a:p>
          <a:p>
            <a:pPr marL="0" marR="0" lvl="0" indent="0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lvl="0" indent="0">
              <a:buNone/>
              <a:defRPr/>
            </a:pPr>
            <a:r>
              <a:rPr lang="zh-CN" altLang="en-US" sz="1000" dirty="0">
                <a:solidFill>
                  <a:srgbClr val="FFFFFF"/>
                </a:solidFill>
              </a:rPr>
              <a:t>部门销售占比</a:t>
            </a:r>
            <a:endParaRPr lang="en-US" altLang="zh-CN" sz="1000" dirty="0">
              <a:solidFill>
                <a:srgbClr val="FFFFFF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lang="en-US" sz="3500" b="1" dirty="0">
                <a:solidFill>
                  <a:srgbClr val="FFFFFF"/>
                </a:solidFill>
              </a:rPr>
              <a:t>8</a:t>
            </a:r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%</a:t>
            </a:r>
          </a:p>
          <a:p>
            <a:pPr marL="182563" marR="0" lvl="0" indent="-182563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Char char="•"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82563" marR="0" lvl="0" indent="-182563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Pladsholder til indhold 2"/>
          <p:cNvSpPr txBox="1">
            <a:spLocks/>
          </p:cNvSpPr>
          <p:nvPr/>
        </p:nvSpPr>
        <p:spPr>
          <a:xfrm>
            <a:off x="6354328" y="2021504"/>
            <a:ext cx="1817157" cy="3133189"/>
          </a:xfrm>
          <a:prstGeom prst="rect">
            <a:avLst/>
          </a:prstGeom>
        </p:spPr>
        <p:txBody>
          <a:bodyPr lIns="0" tIns="0" rIns="0" bIns="0"/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太阳能逆变器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1 SMA)</a:t>
            </a:r>
          </a:p>
          <a:p>
            <a:pPr marL="0" marR="0" lvl="0" indent="0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lvl="0" indent="0">
              <a:buNone/>
              <a:defRPr/>
            </a:pPr>
            <a:r>
              <a:rPr lang="zh-CN" altLang="en-US" sz="1000" dirty="0">
                <a:solidFill>
                  <a:srgbClr val="FFFFFF"/>
                </a:solidFill>
              </a:rPr>
              <a:t>亿欧元</a:t>
            </a:r>
            <a:r>
              <a:rPr lang="en-US" altLang="zh-CN" sz="1000" dirty="0">
                <a:solidFill>
                  <a:srgbClr val="FFFFFF"/>
                </a:solidFill>
              </a:rPr>
              <a:t> </a:t>
            </a:r>
            <a:r>
              <a:rPr lang="zh-CN" altLang="en-US" sz="1000" dirty="0">
                <a:solidFill>
                  <a:srgbClr val="FFFFFF"/>
                </a:solidFill>
              </a:rPr>
              <a:t>净销售额</a:t>
            </a:r>
            <a:endParaRPr lang="en-US" altLang="zh-CN" sz="1000" b="1" dirty="0">
              <a:solidFill>
                <a:srgbClr val="FFFFFF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lang="en-US" sz="6600" b="1" dirty="0">
                <a:solidFill>
                  <a:srgbClr val="FFFFFF"/>
                </a:solidFill>
              </a:rPr>
              <a:t>0.4</a:t>
            </a:r>
            <a:endParaRPr kumimoji="0" lang="en-US" sz="6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Verdana" panose="020B0604030504040204" pitchFamily="34" charset="0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lvl="0" indent="0">
              <a:buNone/>
              <a:defRPr/>
            </a:pPr>
            <a:r>
              <a:rPr lang="zh-CN" altLang="en-US" sz="1000" dirty="0">
                <a:solidFill>
                  <a:srgbClr val="FFFFFF"/>
                </a:solidFill>
              </a:rPr>
              <a:t>部门销售占比</a:t>
            </a:r>
            <a:endParaRPr lang="en-US" altLang="zh-CN" sz="1000" dirty="0">
              <a:solidFill>
                <a:srgbClr val="FFFFFF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rgbClr val="575756"/>
              </a:buClr>
              <a:buSzTx/>
              <a:buFont typeface="Verdana" panose="020B0604030504040204" pitchFamily="34" charset="0"/>
              <a:buNone/>
              <a:tabLst/>
              <a:defRPr/>
            </a:pPr>
            <a:r>
              <a:rPr kumimoji="0" lang="en-US" sz="3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3%</a:t>
            </a:r>
          </a:p>
        </p:txBody>
      </p:sp>
      <p:cxnSp>
        <p:nvCxnSpPr>
          <p:cNvPr id="13" name="Lige forbindelse 61"/>
          <p:cNvCxnSpPr/>
          <p:nvPr/>
        </p:nvCxnSpPr>
        <p:spPr>
          <a:xfrm>
            <a:off x="6328573" y="3903217"/>
            <a:ext cx="2260599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Lige forbindelse 27"/>
          <p:cNvCxnSpPr/>
          <p:nvPr/>
        </p:nvCxnSpPr>
        <p:spPr>
          <a:xfrm>
            <a:off x="6328573" y="2573950"/>
            <a:ext cx="2260599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Lige forbindelse 28"/>
          <p:cNvCxnSpPr/>
          <p:nvPr/>
        </p:nvCxnSpPr>
        <p:spPr>
          <a:xfrm>
            <a:off x="3464193" y="3903217"/>
            <a:ext cx="2260599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Lige forbindelse 30"/>
          <p:cNvCxnSpPr/>
          <p:nvPr/>
        </p:nvCxnSpPr>
        <p:spPr>
          <a:xfrm>
            <a:off x="3464193" y="2573950"/>
            <a:ext cx="2260599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Lige forbindelse 33"/>
          <p:cNvCxnSpPr/>
          <p:nvPr/>
        </p:nvCxnSpPr>
        <p:spPr>
          <a:xfrm>
            <a:off x="590015" y="3903217"/>
            <a:ext cx="2260599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Lige forbindelse 34"/>
          <p:cNvCxnSpPr/>
          <p:nvPr/>
        </p:nvCxnSpPr>
        <p:spPr>
          <a:xfrm>
            <a:off x="590015" y="2573950"/>
            <a:ext cx="2260599" cy="0"/>
          </a:xfrm>
          <a:prstGeom prst="line">
            <a:avLst/>
          </a:prstGeom>
          <a:ln w="3175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84175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117021" y="1274790"/>
            <a:ext cx="2611053" cy="1080000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54000" rtlCol="0" anchor="ctr"/>
          <a:lstStyle/>
          <a:p>
            <a:pPr marL="810000"/>
            <a:r>
              <a:rPr lang="zh-CN" altLang="en-US" sz="750" dirty="0">
                <a:solidFill>
                  <a:schemeClr val="tx1"/>
                </a:solidFill>
              </a:rPr>
              <a:t>功率范围从</a:t>
            </a:r>
            <a:endParaRPr lang="fi-FI" sz="750" dirty="0">
              <a:solidFill>
                <a:schemeClr val="tx1"/>
              </a:solidFill>
            </a:endParaRPr>
          </a:p>
          <a:p>
            <a:pPr marL="810000"/>
            <a:r>
              <a:rPr lang="fi-FI" sz="1500" b="1" dirty="0">
                <a:solidFill>
                  <a:schemeClr val="accent1"/>
                </a:solidFill>
              </a:rPr>
              <a:t>0.18kW</a:t>
            </a:r>
            <a:br>
              <a:rPr lang="fi-FI" sz="1500" b="1" dirty="0">
                <a:solidFill>
                  <a:schemeClr val="accent1"/>
                </a:solidFill>
              </a:rPr>
            </a:br>
            <a:r>
              <a:rPr lang="zh-CN" altLang="en-US" sz="750" dirty="0">
                <a:solidFill>
                  <a:schemeClr val="tx1"/>
                </a:solidFill>
              </a:rPr>
              <a:t>到</a:t>
            </a:r>
            <a:r>
              <a:rPr lang="fi-FI" sz="825" dirty="0">
                <a:solidFill>
                  <a:schemeClr val="tx1"/>
                </a:solidFill>
              </a:rPr>
              <a:t> </a:t>
            </a:r>
            <a:r>
              <a:rPr lang="fi-FI" sz="1500" b="1" dirty="0">
                <a:solidFill>
                  <a:schemeClr val="accent1"/>
                </a:solidFill>
              </a:rPr>
              <a:t>5.3MW</a:t>
            </a:r>
          </a:p>
        </p:txBody>
      </p:sp>
      <p:sp>
        <p:nvSpPr>
          <p:cNvPr id="8" name="Rectangle 7"/>
          <p:cNvSpPr/>
          <p:nvPr/>
        </p:nvSpPr>
        <p:spPr>
          <a:xfrm>
            <a:off x="6117021" y="2495031"/>
            <a:ext cx="2611053" cy="1080000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54000" rtlCol="0" anchor="ctr"/>
          <a:lstStyle/>
          <a:p>
            <a:pPr marL="810000"/>
            <a:r>
              <a:rPr lang="zh-CN" altLang="en-US" sz="750" dirty="0">
                <a:solidFill>
                  <a:schemeClr val="tx1"/>
                </a:solidFill>
              </a:rPr>
              <a:t>首台变频器产于</a:t>
            </a:r>
            <a:endParaRPr lang="fi-FI" sz="750" dirty="0">
              <a:solidFill>
                <a:schemeClr val="tx1"/>
              </a:solidFill>
            </a:endParaRPr>
          </a:p>
          <a:p>
            <a:pPr marL="810000"/>
            <a:r>
              <a:rPr lang="fi-FI" sz="2100" b="1" dirty="0">
                <a:solidFill>
                  <a:schemeClr val="accent1"/>
                </a:solidFill>
              </a:rPr>
              <a:t>1968</a:t>
            </a:r>
          </a:p>
        </p:txBody>
      </p:sp>
      <p:sp>
        <p:nvSpPr>
          <p:cNvPr id="9" name="Rectangle 8"/>
          <p:cNvSpPr/>
          <p:nvPr/>
        </p:nvSpPr>
        <p:spPr>
          <a:xfrm>
            <a:off x="6117021" y="3701258"/>
            <a:ext cx="2611053" cy="1080000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0" rtlCol="0" anchor="ctr"/>
          <a:lstStyle/>
          <a:p>
            <a:pPr marL="810000"/>
            <a:r>
              <a:rPr lang="fi-FI" sz="2100" b="1" dirty="0">
                <a:solidFill>
                  <a:schemeClr val="accent1"/>
                </a:solidFill>
              </a:rPr>
              <a:t>100%</a:t>
            </a:r>
          </a:p>
          <a:p>
            <a:pPr marL="810000"/>
            <a:r>
              <a:rPr lang="zh-CN" altLang="en-US" sz="750" dirty="0">
                <a:solidFill>
                  <a:schemeClr val="tx1"/>
                </a:solidFill>
              </a:rPr>
              <a:t>专注变频器</a:t>
            </a:r>
            <a:r>
              <a:rPr lang="fi-FI" sz="750" dirty="0">
                <a:solidFill>
                  <a:schemeClr val="tx1"/>
                </a:solidFill>
              </a:rPr>
              <a:t>, </a:t>
            </a:r>
            <a:r>
              <a:rPr lang="zh-CN" altLang="en-US" sz="750" dirty="0">
                <a:solidFill>
                  <a:schemeClr val="tx1"/>
                </a:solidFill>
              </a:rPr>
              <a:t>兼容所有的</a:t>
            </a:r>
            <a:endParaRPr lang="en-US" altLang="zh-CN" sz="750" dirty="0">
              <a:solidFill>
                <a:schemeClr val="tx1"/>
              </a:solidFill>
            </a:endParaRPr>
          </a:p>
          <a:p>
            <a:pPr marL="810000"/>
            <a:r>
              <a:rPr lang="zh-CN" altLang="en-US" sz="750" dirty="0">
                <a:solidFill>
                  <a:schemeClr val="tx1"/>
                </a:solidFill>
              </a:rPr>
              <a:t>自动化和电机驱动系统</a:t>
            </a:r>
            <a:endParaRPr lang="fi-FI" sz="75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117021" y="4907486"/>
            <a:ext cx="2611053" cy="1080000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54000" rtlCol="0" anchor="ctr"/>
          <a:lstStyle/>
          <a:p>
            <a:pPr marL="810000"/>
            <a:r>
              <a:rPr lang="fi-FI" sz="1500" b="1" dirty="0">
                <a:solidFill>
                  <a:schemeClr val="accent1"/>
                </a:solidFill>
              </a:rPr>
              <a:t>9 </a:t>
            </a:r>
            <a:r>
              <a:rPr lang="zh-CN" altLang="en-US" sz="750" dirty="0">
                <a:solidFill>
                  <a:schemeClr val="tx1"/>
                </a:solidFill>
              </a:rPr>
              <a:t>大研发中心和</a:t>
            </a:r>
            <a:endParaRPr lang="fi-FI" sz="750" dirty="0">
              <a:solidFill>
                <a:schemeClr val="tx1"/>
              </a:solidFill>
            </a:endParaRPr>
          </a:p>
          <a:p>
            <a:pPr marL="810000"/>
            <a:r>
              <a:rPr lang="fi-FI" sz="1500" b="1" dirty="0">
                <a:solidFill>
                  <a:schemeClr val="accent1"/>
                </a:solidFill>
              </a:rPr>
              <a:t>4 </a:t>
            </a:r>
            <a:r>
              <a:rPr lang="zh-CN" altLang="en-US" sz="750" dirty="0">
                <a:solidFill>
                  <a:schemeClr val="tx1"/>
                </a:solidFill>
              </a:rPr>
              <a:t>应用开发中心</a:t>
            </a:r>
            <a:endParaRPr lang="fi-FI" sz="1500" b="1" dirty="0">
              <a:solidFill>
                <a:schemeClr val="accent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84972" y="1274790"/>
            <a:ext cx="2607178" cy="1080000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0" rtlCol="0" anchor="ctr"/>
          <a:lstStyle/>
          <a:p>
            <a:pPr marL="810000"/>
            <a:r>
              <a:rPr lang="zh-CN" altLang="en-US" sz="750" dirty="0">
                <a:solidFill>
                  <a:schemeClr val="tx1"/>
                </a:solidFill>
              </a:rPr>
              <a:t>年营业额</a:t>
            </a:r>
            <a:endParaRPr lang="fi-FI" sz="750" dirty="0">
              <a:solidFill>
                <a:schemeClr val="tx1"/>
              </a:solidFill>
            </a:endParaRPr>
          </a:p>
          <a:p>
            <a:pPr marL="810000"/>
            <a:r>
              <a:rPr lang="fi-FI" sz="2100" b="1" dirty="0">
                <a:solidFill>
                  <a:schemeClr val="accent1"/>
                </a:solidFill>
              </a:rPr>
              <a:t>13</a:t>
            </a:r>
            <a:r>
              <a:rPr lang="zh-CN" altLang="en-US" sz="2100" b="1" dirty="0">
                <a:solidFill>
                  <a:schemeClr val="accent1"/>
                </a:solidFill>
              </a:rPr>
              <a:t>亿</a:t>
            </a:r>
            <a:r>
              <a:rPr lang="zh-CN" altLang="en-US" sz="750" dirty="0">
                <a:solidFill>
                  <a:schemeClr val="tx1"/>
                </a:solidFill>
              </a:rPr>
              <a:t>欧元</a:t>
            </a:r>
            <a:endParaRPr lang="fi-FI" sz="75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19100" y="1274790"/>
            <a:ext cx="2605087" cy="1080000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54000" rtlCol="0" anchor="ctr"/>
          <a:lstStyle/>
          <a:p>
            <a:pPr marL="810000"/>
            <a:r>
              <a:rPr lang="zh-CN" altLang="en-US" sz="750" dirty="0">
                <a:solidFill>
                  <a:schemeClr val="tx1"/>
                </a:solidFill>
              </a:rPr>
              <a:t>遍及全球超过</a:t>
            </a:r>
            <a:endParaRPr lang="fi-FI" sz="750" dirty="0">
              <a:solidFill>
                <a:schemeClr val="tx1"/>
              </a:solidFill>
            </a:endParaRPr>
          </a:p>
          <a:p>
            <a:pPr marL="810000"/>
            <a:r>
              <a:rPr lang="fi-FI" sz="2100" b="1" dirty="0">
                <a:solidFill>
                  <a:schemeClr val="accent1"/>
                </a:solidFill>
              </a:rPr>
              <a:t>50</a:t>
            </a:r>
          </a:p>
          <a:p>
            <a:pPr marL="810000"/>
            <a:r>
              <a:rPr lang="zh-CN" altLang="en-US" sz="750" dirty="0">
                <a:solidFill>
                  <a:schemeClr val="tx1"/>
                </a:solidFill>
              </a:rPr>
              <a:t>个国家</a:t>
            </a:r>
            <a:endParaRPr lang="fi-FI" sz="75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26145" y="2495031"/>
            <a:ext cx="2598042" cy="1080000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0" rtlCol="0" anchor="ctr"/>
          <a:lstStyle/>
          <a:p>
            <a:pPr marL="810000"/>
            <a:r>
              <a:rPr lang="fi-FI" sz="2100" b="1" dirty="0">
                <a:solidFill>
                  <a:schemeClr val="accent1"/>
                </a:solidFill>
              </a:rPr>
              <a:t>4700</a:t>
            </a:r>
          </a:p>
          <a:p>
            <a:pPr marL="810000"/>
            <a:r>
              <a:rPr lang="zh-CN" altLang="en-US" sz="750" dirty="0">
                <a:solidFill>
                  <a:schemeClr val="tx1"/>
                </a:solidFill>
              </a:rPr>
              <a:t>名传动专家</a:t>
            </a:r>
            <a:endParaRPr lang="fi-FI" sz="75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289735" y="4907486"/>
            <a:ext cx="2607178" cy="1080000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54000" rtlCol="0" anchor="ctr"/>
          <a:lstStyle/>
          <a:p>
            <a:pPr marL="810000"/>
            <a:r>
              <a:rPr lang="fi-FI" sz="2100" b="1" dirty="0">
                <a:solidFill>
                  <a:schemeClr val="accent1"/>
                </a:solidFill>
              </a:rPr>
              <a:t>200</a:t>
            </a:r>
            <a:br>
              <a:rPr lang="fi-FI" sz="1500" b="1" dirty="0">
                <a:solidFill>
                  <a:schemeClr val="accent1"/>
                </a:solidFill>
              </a:rPr>
            </a:br>
            <a:r>
              <a:rPr lang="zh-CN" altLang="en-US" sz="750" dirty="0">
                <a:solidFill>
                  <a:schemeClr val="tx1"/>
                </a:solidFill>
              </a:rPr>
              <a:t>合作伙伴公司</a:t>
            </a:r>
            <a:endParaRPr lang="fi-FI" sz="750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26145" y="4907486"/>
            <a:ext cx="2598042" cy="1080000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54000" rtlCol="0" anchor="ctr"/>
          <a:lstStyle/>
          <a:p>
            <a:pPr marL="810000"/>
            <a:r>
              <a:rPr lang="fi-FI" sz="2100" b="1" dirty="0">
                <a:solidFill>
                  <a:schemeClr val="accent1"/>
                </a:solidFill>
              </a:rPr>
              <a:t>10</a:t>
            </a:r>
          </a:p>
          <a:p>
            <a:pPr marL="810000"/>
            <a:r>
              <a:rPr lang="zh-CN" altLang="en-US" sz="750" dirty="0">
                <a:solidFill>
                  <a:schemeClr val="tx1"/>
                </a:solidFill>
              </a:rPr>
              <a:t>生产制造工厂</a:t>
            </a:r>
            <a:endParaRPr lang="fi-FI" sz="750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26145" y="3701258"/>
            <a:ext cx="2598043" cy="1080000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54000" rtlCol="0" anchor="ctr"/>
          <a:lstStyle/>
          <a:p>
            <a:pPr marL="810000"/>
            <a:r>
              <a:rPr lang="zh-CN" altLang="en-US" sz="750" dirty="0">
                <a:solidFill>
                  <a:schemeClr val="tx1"/>
                </a:solidFill>
              </a:rPr>
              <a:t>超过</a:t>
            </a:r>
            <a:endParaRPr lang="fi-FI" sz="750" dirty="0">
              <a:solidFill>
                <a:schemeClr val="tx1"/>
              </a:solidFill>
            </a:endParaRPr>
          </a:p>
          <a:p>
            <a:pPr marL="810000"/>
            <a:r>
              <a:rPr lang="fi-FI" sz="2100" b="1" dirty="0">
                <a:solidFill>
                  <a:schemeClr val="accent1"/>
                </a:solidFill>
              </a:rPr>
              <a:t>80</a:t>
            </a:r>
          </a:p>
          <a:p>
            <a:pPr marL="810000"/>
            <a:r>
              <a:rPr lang="zh-CN" altLang="en-US" sz="750" dirty="0">
                <a:solidFill>
                  <a:schemeClr val="tx1"/>
                </a:solidFill>
              </a:rPr>
              <a:t>销售和服务公司</a:t>
            </a:r>
            <a:endParaRPr lang="fi-FI" sz="750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289735" y="2537071"/>
            <a:ext cx="2607178" cy="2240624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fi-FI" sz="2100" b="1" dirty="0">
              <a:solidFill>
                <a:schemeClr val="accent1"/>
              </a:solidFill>
            </a:endParaRPr>
          </a:p>
          <a:p>
            <a:pPr algn="ctr"/>
            <a:endParaRPr lang="fi-FI" sz="2100" b="1" dirty="0">
              <a:solidFill>
                <a:schemeClr val="accent1"/>
              </a:solidFill>
            </a:endParaRPr>
          </a:p>
          <a:p>
            <a:pPr algn="ctr"/>
            <a:endParaRPr lang="fi-FI" sz="2100" b="1" dirty="0">
              <a:solidFill>
                <a:schemeClr val="accent1"/>
              </a:solidFill>
            </a:endParaRPr>
          </a:p>
          <a:p>
            <a:pPr algn="ctr"/>
            <a:r>
              <a:rPr lang="fi-FI" sz="2100" b="1" dirty="0">
                <a:solidFill>
                  <a:schemeClr val="accent1"/>
                </a:solidFill>
              </a:rPr>
              <a:t>19M</a:t>
            </a:r>
          </a:p>
          <a:p>
            <a:pPr algn="ctr"/>
            <a:r>
              <a:rPr lang="zh-CN" altLang="en-US" sz="750" dirty="0">
                <a:solidFill>
                  <a:schemeClr val="tx1"/>
                </a:solidFill>
              </a:rPr>
              <a:t>累积交货台数</a:t>
            </a:r>
            <a:endParaRPr lang="fi-FI" sz="750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zh-CN" altLang="en-US" sz="3000" dirty="0"/>
              <a:t>丹佛斯传动</a:t>
            </a:r>
            <a:r>
              <a:rPr lang="zh-CN" altLang="en-US" sz="3000" dirty="0">
                <a:solidFill>
                  <a:srgbClr val="E2000F"/>
                </a:solidFill>
              </a:rPr>
              <a:t>业务数据</a:t>
            </a:r>
            <a:endParaRPr lang="en-US" sz="3000" b="1" dirty="0">
              <a:solidFill>
                <a:srgbClr val="E2000F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47" y="1509809"/>
            <a:ext cx="734990" cy="682983"/>
          </a:xfrm>
          <a:prstGeom prst="rect">
            <a:avLst/>
          </a:prstGeom>
          <a:effectLst/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938" y="2739628"/>
            <a:ext cx="701653" cy="652005"/>
          </a:xfrm>
          <a:prstGeom prst="rect">
            <a:avLst/>
          </a:prstGeom>
          <a:effectLst/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171" y="3871191"/>
            <a:ext cx="851052" cy="790832"/>
          </a:xfrm>
          <a:prstGeom prst="rect">
            <a:avLst/>
          </a:prstGeom>
          <a:effectLst/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53" y="5032690"/>
            <a:ext cx="870570" cy="808969"/>
          </a:xfrm>
          <a:prstGeom prst="rect">
            <a:avLst/>
          </a:prstGeom>
          <a:effectLst/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9579" y="1538383"/>
            <a:ext cx="651168" cy="605092"/>
          </a:xfrm>
          <a:prstGeom prst="rect">
            <a:avLst/>
          </a:prstGeom>
          <a:effectLst/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1913" y="2668852"/>
            <a:ext cx="1421606" cy="1321015"/>
          </a:xfrm>
          <a:prstGeom prst="rect">
            <a:avLst/>
          </a:prstGeom>
          <a:effectLst/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458" y="1429789"/>
            <a:ext cx="864394" cy="803231"/>
          </a:xfrm>
          <a:prstGeom prst="rect">
            <a:avLst/>
          </a:prstGeom>
          <a:effectLst/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295" y="2772438"/>
            <a:ext cx="628650" cy="584168"/>
          </a:xfrm>
          <a:prstGeom prst="rect">
            <a:avLst/>
          </a:prstGeom>
          <a:effectLst/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275" y="5083971"/>
            <a:ext cx="819146" cy="761184"/>
          </a:xfrm>
          <a:prstGeom prst="rect">
            <a:avLst/>
          </a:prstGeom>
          <a:effectLst/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2461" y="3888867"/>
            <a:ext cx="780778" cy="725531"/>
          </a:xfrm>
          <a:prstGeom prst="rect">
            <a:avLst/>
          </a:prstGeom>
          <a:effectLst/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3860" y="5151097"/>
            <a:ext cx="732896" cy="681037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867128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/>
          <p:cNvSpPr/>
          <p:nvPr/>
        </p:nvSpPr>
        <p:spPr>
          <a:xfrm>
            <a:off x="423501" y="1380226"/>
            <a:ext cx="2605087" cy="4096880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54000" rtlCol="0" anchor="ctr"/>
          <a:lstStyle/>
          <a:p>
            <a:pPr marL="810000"/>
            <a:endParaRPr lang="fi-FI" sz="750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811" y="2744255"/>
            <a:ext cx="2463810" cy="1824833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3271258" y="1380226"/>
            <a:ext cx="2605087" cy="4082839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54000" rtlCol="0" anchor="ctr"/>
          <a:lstStyle/>
          <a:p>
            <a:pPr marL="810000"/>
            <a:endParaRPr lang="fi-FI" sz="750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68" r="31052"/>
          <a:stretch/>
        </p:blipFill>
        <p:spPr>
          <a:xfrm>
            <a:off x="3718607" y="2521176"/>
            <a:ext cx="1746379" cy="2618531"/>
          </a:xfrm>
          <a:prstGeom prst="rect">
            <a:avLst/>
          </a:prstGeom>
        </p:spPr>
      </p:pic>
      <p:sp>
        <p:nvSpPr>
          <p:cNvPr id="46" name="Rectangle 45"/>
          <p:cNvSpPr/>
          <p:nvPr/>
        </p:nvSpPr>
        <p:spPr>
          <a:xfrm>
            <a:off x="6122037" y="1380226"/>
            <a:ext cx="2605087" cy="4096880"/>
          </a:xfrm>
          <a:prstGeom prst="rect">
            <a:avLst/>
          </a:prstGeom>
          <a:gradFill>
            <a:gsLst>
              <a:gs pos="0">
                <a:schemeClr val="bg2">
                  <a:lumMod val="60000"/>
                  <a:lumOff val="40000"/>
                </a:schemeClr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54000" rtlCol="0" anchor="ctr"/>
          <a:lstStyle/>
          <a:p>
            <a:pPr marL="810000"/>
            <a:endParaRPr lang="fi-FI" sz="750" dirty="0">
              <a:solidFill>
                <a:schemeClr val="tx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01145" y="858442"/>
          <a:ext cx="893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30" imgW="526" imgH="526" progId="TCLayout.ActiveDocument.1">
                  <p:embed/>
                </p:oleObj>
              </mc:Choice>
              <mc:Fallback>
                <p:oleObj name="think-cell Slide" r:id="rId30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001145" y="858442"/>
                        <a:ext cx="893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2000252" y="857253"/>
            <a:ext cx="89297" cy="119063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US" sz="788" dirty="0" err="1"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255796" y="4665662"/>
            <a:ext cx="500063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C79C039-8435-405A-B9C2-4D78A784B478}" type="datetime'''''''Schn''''''ei''''''''''d''''''er'''''''''''''''''">
              <a:rPr lang="en-US" altLang="en-US" sz="8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chneider</a:t>
            </a:fld>
            <a:endParaRPr lang="en-US" sz="800" dirty="0"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430810" y="4394680"/>
            <a:ext cx="200025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FE4C82-23F3-4B95-8A0C-99233A76BF15}" type="datetime'''''8''''''''''%'''''''''''''''''''''''''''">
              <a:rPr lang="en-US" altLang="en-US" sz="8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US" sz="800" dirty="0"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008488" y="4518933"/>
            <a:ext cx="435769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EEB1CC9-E1F0-41D8-A63F-07CF76512F98}" type="datetime'''''''R''o''''''c''''''''kwe''l''''''''''l'''''">
              <a:rPr lang="en-US" altLang="en-US" sz="8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ockwell</a:t>
            </a:fld>
            <a:endParaRPr lang="en-US" sz="800" dirty="0">
              <a:sym typeface="+mn-lt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785158" y="4266789"/>
            <a:ext cx="200025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D09D05-BC0B-4842-B51F-6814DF541795}" type="datetime'''''''''''''''''''''9''''''''''''''''''%'''''''''''">
              <a:rPr lang="en-US" altLang="en-US" sz="8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%</a:t>
            </a:fld>
            <a:endParaRPr lang="en-U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322706" y="4093641"/>
            <a:ext cx="428625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6E0ADD-3AC0-47A7-B499-90CE62CF811C}" type="datetime'''''''''''''''''''''''''''''''''''''S''ie''''m''''en''''s'''">
              <a:rPr lang="en-US" altLang="en-US" sz="8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iemens</a:t>
            </a:fld>
            <a:endParaRPr lang="en-US" sz="800" dirty="0"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997090" y="3958721"/>
            <a:ext cx="263426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DA69AB-9BDB-47F0-9EC2-EB439F7E0414}" type="datetime'''''''''''''''''10''''''''''''''''''''''''''''''''''''''%'''">
              <a:rPr lang="en-US" altLang="en-US" sz="8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endParaRPr lang="en-U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359810" y="3476794"/>
            <a:ext cx="399158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8F2020-E7D2-4ED8-ADA7-D12D1549FD19}" type="datetime'''''''''''D''a''''''n''''''''f''''o''''s''''''''''''''''''s'">
              <a:rPr lang="en-US" altLang="en-US" sz="8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anfoss</a:t>
            </a:fld>
            <a:endParaRPr lang="en-US" sz="800" dirty="0"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059280" y="3529506"/>
            <a:ext cx="263426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3F1D24-0D19-4F8E-858B-48381B635AF4}" type="datetime'1''''''3''''%'''''''''''''''''''''''''''''''''''''''''''''''">
              <a:rPr lang="en-US" altLang="en-US" sz="8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n-U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903425" y="2856869"/>
            <a:ext cx="206276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F7DE78F-78DB-4B34-9955-7BCB227D1AF4}" type="datetime'A''BB'''''''''''''''''''''''''''''''''''''''''''''''''''">
              <a:rPr lang="en-US" altLang="en-US" sz="8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BB</a:t>
            </a:fld>
            <a:endParaRPr lang="en-US" sz="800" dirty="0">
              <a:sym typeface="+mn-lt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721757" y="3082428"/>
            <a:ext cx="263426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5A98AA-FC8F-4030-A483-2BC36CC4A24A}" type="datetime'''1''5''''''''''''''''''''''''''''''''''''''%'''">
              <a:rPr lang="en-US" altLang="en-US" sz="8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en-U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576552" y="3162738"/>
            <a:ext cx="283964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D3ABC92-5B83-486C-B3AA-DD59D5931BC9}" type="datetime'''''''O''''''''''''''''t''''''''''''''h''''''''e''''r'''''">
              <a:rPr lang="en-US" altLang="en-US" sz="80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800" dirty="0"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921539" y="3349629"/>
            <a:ext cx="263426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34735F-2B06-43E6-AA45-9D2530227DF2}" type="datetime'''''''''''''''''''''4''''''''''''''''''''''''5''''''''%'">
              <a:rPr lang="en-US" altLang="en-US" sz="8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%</a:t>
            </a:fld>
            <a:endParaRPr lang="en-U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3434570" y="1757188"/>
            <a:ext cx="2324398" cy="31375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/>
            <a:r>
              <a:rPr lang="zh-CN" altLang="en-US" sz="1200" kern="0" dirty="0">
                <a:solidFill>
                  <a:sysClr val="windowText" lastClr="000000"/>
                </a:solidFill>
              </a:rPr>
              <a:t>全球市场主要品牌份额</a:t>
            </a:r>
            <a:r>
              <a:rPr lang="en-US" sz="1200" kern="0" dirty="0">
                <a:solidFill>
                  <a:sysClr val="windowText" lastClr="000000"/>
                </a:solidFill>
              </a:rPr>
              <a:t> 2016</a:t>
            </a: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337646" y="3761266"/>
            <a:ext cx="428625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399C2A4-D66E-4F8A-B89B-168946D08A70}" type="datetime'''''''''''S''''''''''''''''''i''''''''''eme''''''''''n''s'">
              <a:rPr lang="en-US" altLang="en-US" sz="8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iemens</a:t>
            </a:fld>
            <a:endParaRPr lang="en-US" sz="800" dirty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337645" y="3279063"/>
            <a:ext cx="399158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423057-4BCC-43CC-B931-87DE88FA315D}" type="datetime'''D''a''''n''''''''''f''''''''''''''''''''''''os''s'">
              <a:rPr lang="en-US" altLang="en-US" sz="8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anfoss</a:t>
            </a:fld>
            <a:endParaRPr lang="en-US" sz="800" dirty="0"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337645" y="2793287"/>
            <a:ext cx="206276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BFCCBA-073B-43C8-9612-55C2FE8F98CA}" type="datetime'''''''''''A''''''B''''B'''''''''''''''''''''''''''''''''">
              <a:rPr lang="en-US" altLang="en-US" sz="8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BB</a:t>
            </a:fld>
            <a:endParaRPr lang="en-US" sz="800" dirty="0"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337646" y="4729245"/>
            <a:ext cx="500063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229B6FF-624C-4EE3-BA46-9956E52FA32B}" type="datetime'''''''''''S''ch''n''''''''e''i''''de''''''''''r'''''''''''''">
              <a:rPr lang="en-US" altLang="en-US" sz="8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chneider</a:t>
            </a:fld>
            <a:endParaRPr lang="en-US" sz="800" dirty="0"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808790" y="2428651"/>
            <a:ext cx="897434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700" dirty="0">
                <a:sym typeface="+mn-lt"/>
              </a:rPr>
              <a:t>Percentage points</a:t>
            </a:r>
            <a:endParaRPr lang="en-US" sz="700" dirty="0">
              <a:sym typeface="+mn-lt"/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337646" y="4243470"/>
            <a:ext cx="435769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1890EAB-F031-4669-A57B-CCB687EC241C}" type="datetime'''''''''''R''o''c''k''w''''''''e''''''l''''''''''''''l'">
              <a:rPr lang="en-US" altLang="en-US" sz="8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ockwell</a:t>
            </a:fld>
            <a:endParaRPr lang="en-US" sz="800" dirty="0">
              <a:sym typeface="+mn-lt"/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6263679" y="1734386"/>
            <a:ext cx="2224352" cy="5339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1"/>
            <a:r>
              <a:rPr lang="zh-CN" altLang="en-US" sz="1200" kern="0" dirty="0">
                <a:solidFill>
                  <a:sysClr val="windowText" lastClr="000000"/>
                </a:solidFill>
              </a:rPr>
              <a:t>主要品牌市场份额变化</a:t>
            </a:r>
            <a:endParaRPr lang="en-US" altLang="zh-CN" sz="1200" kern="0" dirty="0">
              <a:solidFill>
                <a:sysClr val="windowText" lastClr="000000"/>
              </a:solidFill>
            </a:endParaRPr>
          </a:p>
          <a:p>
            <a:pPr marL="0" lvl="1"/>
            <a:r>
              <a:rPr lang="en-US" sz="1200" kern="0" dirty="0">
                <a:solidFill>
                  <a:sysClr val="windowText" lastClr="000000"/>
                </a:solidFill>
              </a:rPr>
              <a:t>2009 vs 2016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19100" y="5675788"/>
            <a:ext cx="70371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zh-CN" altLang="en-US" sz="800" dirty="0"/>
              <a:t>数据来源：</a:t>
            </a:r>
            <a:r>
              <a:rPr lang="en-US" sz="800" dirty="0"/>
              <a:t>IHS</a:t>
            </a:r>
          </a:p>
        </p:txBody>
      </p:sp>
      <p:cxnSp>
        <p:nvCxnSpPr>
          <p:cNvPr id="38" name="Straight Connector 37"/>
          <p:cNvCxnSpPr/>
          <p:nvPr/>
        </p:nvCxnSpPr>
        <p:spPr>
          <a:xfrm>
            <a:off x="3434570" y="2111483"/>
            <a:ext cx="2324398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8"/>
          <p:cNvSpPr txBox="1"/>
          <p:nvPr/>
        </p:nvSpPr>
        <p:spPr>
          <a:xfrm>
            <a:off x="586947" y="1761895"/>
            <a:ext cx="27375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kern="0" dirty="0"/>
              <a:t>丹佛斯传动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</a:rPr>
              <a:t>DKK 11.5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</a:rPr>
              <a:t>亿欧元</a:t>
            </a:r>
            <a:r>
              <a:rPr kumimoji="0" lang="en-US" sz="1200" b="1" i="0" u="none" strike="noStrike" kern="0" cap="none" spc="0" normalizeH="0" baseline="30000" noProof="0" dirty="0">
                <a:ln>
                  <a:noFill/>
                </a:ln>
                <a:solidFill>
                  <a:srgbClr val="E60A11"/>
                </a:solidFill>
                <a:effectLst/>
                <a:uLnTx/>
                <a:uFillTx/>
              </a:rPr>
              <a:t> </a:t>
            </a:r>
          </a:p>
        </p:txBody>
      </p:sp>
      <p:cxnSp>
        <p:nvCxnSpPr>
          <p:cNvPr id="43" name="Straight Connector 41"/>
          <p:cNvCxnSpPr/>
          <p:nvPr/>
        </p:nvCxnSpPr>
        <p:spPr>
          <a:xfrm>
            <a:off x="1220025" y="4103875"/>
            <a:ext cx="0" cy="57408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11"/>
          <p:cNvSpPr txBox="1"/>
          <p:nvPr/>
        </p:nvSpPr>
        <p:spPr>
          <a:xfrm>
            <a:off x="586947" y="4767083"/>
            <a:ext cx="208797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全球低压变频器市场规模</a:t>
            </a:r>
            <a:endParaRPr kumimoji="0" lang="en-US" altLang="zh-CN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88</a:t>
            </a:r>
            <a:r>
              <a: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亿欧元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zh-CN" altLang="en-US" sz="3200" dirty="0"/>
              <a:t>低压变频器</a:t>
            </a:r>
            <a:r>
              <a:rPr lang="en-US" sz="3200" dirty="0"/>
              <a:t> </a:t>
            </a:r>
            <a:r>
              <a:rPr lang="zh-CN" altLang="en-US" sz="3200" b="1" dirty="0">
                <a:solidFill>
                  <a:schemeClr val="accent1"/>
                </a:solidFill>
              </a:rPr>
              <a:t>市场竞争分布</a:t>
            </a:r>
            <a:endParaRPr lang="fi-FI" sz="3200" b="1" dirty="0">
              <a:solidFill>
                <a:schemeClr val="accent1"/>
              </a:solidFill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583791" y="2111483"/>
            <a:ext cx="2324398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6264169" y="2111483"/>
            <a:ext cx="2324398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25" t="11765" r="33157" b="10588"/>
          <a:stretch/>
        </p:blipFill>
        <p:spPr>
          <a:xfrm>
            <a:off x="7070414" y="2555816"/>
            <a:ext cx="1474429" cy="2557395"/>
          </a:xfrm>
          <a:prstGeom prst="rect">
            <a:avLst/>
          </a:prstGeom>
        </p:spPr>
      </p:pic>
      <p:sp>
        <p:nvSpPr>
          <p:cNvPr id="5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124299" y="2793287"/>
            <a:ext cx="206276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dirty="0"/>
              <a:t>-2</a:t>
            </a:r>
            <a:endParaRPr lang="en-US" sz="800" dirty="0"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504151" y="3279063"/>
            <a:ext cx="154767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dirty="0"/>
              <a:t>4</a:t>
            </a:r>
            <a:endParaRPr lang="en-US" sz="800" dirty="0"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929309" y="3768578"/>
            <a:ext cx="141104" cy="119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dirty="0"/>
              <a:t>-3</a:t>
            </a:r>
            <a:endParaRPr lang="en-US" sz="800" dirty="0"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314363" y="4243470"/>
            <a:ext cx="173669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dirty="0"/>
              <a:t>3</a:t>
            </a:r>
            <a:endParaRPr lang="en-US" sz="800" dirty="0"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132828" y="4729245"/>
            <a:ext cx="181535" cy="127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25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328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Verdana" panose="020B060403050404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800" dirty="0"/>
              <a:t>2</a:t>
            </a:r>
            <a:endParaRPr lang="en-US" sz="800" dirty="0">
              <a:sym typeface="+mn-lt"/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>
            <a:off x="2144478" y="2156234"/>
            <a:ext cx="0" cy="827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69499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zh-CN" altLang="en-US" sz="2000" dirty="0"/>
              <a:t>通过产品的领导性，独立性，灵活性，杰出的连通性和持续不断的创新性，丹佛斯的产品远超客户的期望</a:t>
            </a:r>
            <a:endParaRPr lang="en-US" sz="2000" dirty="0"/>
          </a:p>
        </p:txBody>
      </p:sp>
      <p:grpSp>
        <p:nvGrpSpPr>
          <p:cNvPr id="21" name="Group 20"/>
          <p:cNvGrpSpPr/>
          <p:nvPr/>
        </p:nvGrpSpPr>
        <p:grpSpPr>
          <a:xfrm>
            <a:off x="437894" y="2052203"/>
            <a:ext cx="2042243" cy="2347676"/>
            <a:chOff x="437894" y="2052203"/>
            <a:chExt cx="2042243" cy="2347676"/>
          </a:xfrm>
          <a:gradFill>
            <a:gsLst>
              <a:gs pos="0">
                <a:schemeClr val="accent1"/>
              </a:gs>
              <a:gs pos="67000">
                <a:schemeClr val="accent2"/>
              </a:gs>
              <a:gs pos="100000">
                <a:schemeClr val="accent1"/>
              </a:gs>
            </a:gsLst>
            <a:lin ang="1200000" scaled="0"/>
          </a:gradFill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" name="Rectangle 4"/>
            <p:cNvSpPr/>
            <p:nvPr/>
          </p:nvSpPr>
          <p:spPr>
            <a:xfrm>
              <a:off x="437894" y="2052203"/>
              <a:ext cx="1873250" cy="2347676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tlCol="0" anchor="t" anchorCtr="0"/>
            <a:lstStyle/>
            <a:p>
              <a:pPr marL="171450" indent="-17145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变频器</a:t>
              </a:r>
              <a:br>
                <a:rPr lang="en-US" altLang="zh-CN" sz="1100" b="1" dirty="0">
                  <a:solidFill>
                    <a:srgbClr val="FFFFFF"/>
                  </a:solidFill>
                </a:rPr>
              </a:br>
              <a:r>
                <a:rPr lang="en-US" altLang="zh-CN" sz="1100" dirty="0">
                  <a:solidFill>
                    <a:srgbClr val="FFFFFF"/>
                  </a:solidFill>
                </a:rPr>
                <a:t>(0.18 – 1,400 kW)</a:t>
              </a: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分布式变频器</a:t>
              </a:r>
              <a:endParaRPr lang="en-US" altLang="zh-CN" sz="11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集成伺服控制器</a:t>
              </a:r>
              <a:endParaRPr lang="en-US" altLang="zh-CN" sz="11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软启动器</a:t>
              </a:r>
              <a:endParaRPr lang="en-US" altLang="zh-CN" sz="11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电源选件</a:t>
              </a:r>
              <a:br>
                <a:rPr lang="en-US" altLang="zh-CN" sz="1100" b="1" dirty="0">
                  <a:solidFill>
                    <a:srgbClr val="FFFFFF"/>
                  </a:solidFill>
                </a:rPr>
              </a:br>
              <a:r>
                <a:rPr lang="en-US" altLang="zh-CN" sz="1100" dirty="0">
                  <a:solidFill>
                    <a:srgbClr val="FFFFFF"/>
                  </a:solidFill>
                </a:rPr>
                <a:t>(</a:t>
              </a:r>
              <a:r>
                <a:rPr lang="zh-CN" altLang="en-US" sz="1100" dirty="0">
                  <a:solidFill>
                    <a:srgbClr val="FFFFFF"/>
                  </a:solidFill>
                </a:rPr>
                <a:t>滤波器</a:t>
              </a:r>
              <a:r>
                <a:rPr lang="en-US" altLang="zh-CN" sz="1100" dirty="0">
                  <a:solidFill>
                    <a:srgbClr val="FFFFFF"/>
                  </a:solidFill>
                </a:rPr>
                <a:t>)</a:t>
              </a: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软件工具</a:t>
              </a:r>
              <a:endParaRPr lang="en-US" altLang="zh-CN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14" name="Isosceles Triangle 13"/>
            <p:cNvSpPr/>
            <p:nvPr/>
          </p:nvSpPr>
          <p:spPr>
            <a:xfrm rot="5400000">
              <a:off x="2248571" y="3487240"/>
              <a:ext cx="294139" cy="168993"/>
            </a:xfrm>
            <a:prstGeom prst="triangle">
              <a:avLst>
                <a:gd name="adj" fmla="val 52747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noProof="0" dirty="0" err="1"/>
            </a:p>
          </p:txBody>
        </p:sp>
      </p:grpSp>
      <p:sp>
        <p:nvSpPr>
          <p:cNvPr id="19" name="Rectangle 18"/>
          <p:cNvSpPr/>
          <p:nvPr/>
        </p:nvSpPr>
        <p:spPr>
          <a:xfrm>
            <a:off x="437894" y="1265938"/>
            <a:ext cx="1873250" cy="710004"/>
          </a:xfrm>
          <a:prstGeom prst="rect">
            <a:avLst/>
          </a:prstGeom>
          <a:gradFill>
            <a:gsLst>
              <a:gs pos="0">
                <a:schemeClr val="accent1"/>
              </a:gs>
              <a:gs pos="67000">
                <a:schemeClr val="accent2"/>
              </a:gs>
              <a:gs pos="100000">
                <a:schemeClr val="accent1"/>
              </a:gs>
            </a:gsLst>
            <a:lin ang="0" scaled="0"/>
          </a:gradFill>
          <a:ln w="9525"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200" b="1" dirty="0"/>
              <a:t>VLT</a:t>
            </a:r>
            <a:r>
              <a:rPr lang="en-GB" sz="2200" b="1" baseline="30000" dirty="0">
                <a:solidFill>
                  <a:schemeClr val="bg1"/>
                </a:solidFill>
              </a:rPr>
              <a:t>®</a:t>
            </a:r>
            <a:r>
              <a:rPr lang="fi-FI" sz="2200" b="1" dirty="0"/>
              <a:t> </a:t>
            </a:r>
            <a:endParaRPr lang="fi-FI" sz="2200" dirty="0"/>
          </a:p>
        </p:txBody>
      </p:sp>
      <p:sp>
        <p:nvSpPr>
          <p:cNvPr id="9" name="Rectangle 8"/>
          <p:cNvSpPr/>
          <p:nvPr/>
        </p:nvSpPr>
        <p:spPr>
          <a:xfrm>
            <a:off x="437894" y="4476140"/>
            <a:ext cx="1873250" cy="1583883"/>
          </a:xfrm>
          <a:prstGeom prst="rect">
            <a:avLst/>
          </a:prstGeom>
          <a:gradFill>
            <a:gsLst>
              <a:gs pos="0">
                <a:schemeClr val="accent1"/>
              </a:gs>
              <a:gs pos="67000">
                <a:schemeClr val="accent2"/>
              </a:gs>
              <a:gs pos="100000">
                <a:schemeClr val="accent1"/>
              </a:gs>
            </a:gsLst>
            <a:lin ang="1200000" scaled="0"/>
          </a:gradFill>
          <a:ln w="9525"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tlCol="0" anchor="t" anchorCtr="0"/>
          <a:lstStyle/>
          <a:p>
            <a:pPr marL="108000" indent="-1080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100" b="1" dirty="0">
                <a:solidFill>
                  <a:srgbClr val="FFFFFF"/>
                </a:solidFill>
              </a:rPr>
              <a:t>太阳能逆变器</a:t>
            </a:r>
            <a:br>
              <a:rPr lang="en-US" altLang="zh-CN" sz="1100" b="1" dirty="0">
                <a:solidFill>
                  <a:srgbClr val="FFFFFF"/>
                </a:solidFill>
              </a:rPr>
            </a:br>
            <a:r>
              <a:rPr lang="en-US" altLang="zh-CN" sz="1100" dirty="0">
                <a:solidFill>
                  <a:srgbClr val="FFFFFF"/>
                </a:solidFill>
              </a:rPr>
              <a:t>(SMA</a:t>
            </a:r>
            <a:r>
              <a:rPr lang="zh-CN" altLang="en-US" sz="1100" dirty="0">
                <a:solidFill>
                  <a:srgbClr val="FFFFFF"/>
                </a:solidFill>
              </a:rPr>
              <a:t>供应商</a:t>
            </a:r>
            <a:r>
              <a:rPr lang="en-US" altLang="zh-CN" sz="1100" dirty="0">
                <a:solidFill>
                  <a:srgbClr val="FFFFFF"/>
                </a:solidFill>
              </a:rPr>
              <a:t>)</a:t>
            </a:r>
          </a:p>
          <a:p>
            <a:pPr marL="108000" indent="-1080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100" b="1" dirty="0">
                <a:solidFill>
                  <a:srgbClr val="FFFFFF"/>
                </a:solidFill>
              </a:rPr>
              <a:t>功率模块</a:t>
            </a:r>
            <a:br>
              <a:rPr lang="en-US" altLang="zh-CN" sz="1100" b="1" dirty="0">
                <a:solidFill>
                  <a:srgbClr val="FFFFFF"/>
                </a:solidFill>
              </a:rPr>
            </a:br>
            <a:r>
              <a:rPr lang="zh-CN" altLang="en-US" sz="1100" dirty="0">
                <a:solidFill>
                  <a:srgbClr val="FFFFFF"/>
                </a:solidFill>
              </a:rPr>
              <a:t>风电行业</a:t>
            </a:r>
            <a:endParaRPr lang="en-US" altLang="zh-CN" sz="1100" dirty="0">
              <a:solidFill>
                <a:srgbClr val="FFFFFF"/>
              </a:solidFill>
            </a:endParaRPr>
          </a:p>
          <a:p>
            <a:pPr marL="108000" indent="-108000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100" b="1" dirty="0">
                <a:solidFill>
                  <a:srgbClr val="FFFFFF"/>
                </a:solidFill>
              </a:rPr>
              <a:t>客户定制化功率模块</a:t>
            </a:r>
            <a:endParaRPr lang="en-US" altLang="zh-CN" sz="1100" b="1" dirty="0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1145" y="1400174"/>
            <a:ext cx="6585124" cy="5180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588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zh-CN" altLang="en-US" sz="2000" dirty="0"/>
              <a:t>通过产品的领导性，独立性，灵活性，杰出的连通性和持续不断的创新性，丹佛斯的产品远超客户的期望</a:t>
            </a:r>
            <a:endParaRPr lang="en-US" sz="2000" dirty="0"/>
          </a:p>
        </p:txBody>
      </p:sp>
      <p:grpSp>
        <p:nvGrpSpPr>
          <p:cNvPr id="12" name="Group 11"/>
          <p:cNvGrpSpPr/>
          <p:nvPr/>
        </p:nvGrpSpPr>
        <p:grpSpPr>
          <a:xfrm>
            <a:off x="437894" y="2052202"/>
            <a:ext cx="2042243" cy="4005698"/>
            <a:chOff x="437894" y="2052202"/>
            <a:chExt cx="2042243" cy="4005698"/>
          </a:xfrm>
          <a:gradFill>
            <a:gsLst>
              <a:gs pos="0">
                <a:schemeClr val="accent1"/>
              </a:gs>
              <a:gs pos="67000">
                <a:schemeClr val="accent2"/>
              </a:gs>
              <a:gs pos="100000">
                <a:schemeClr val="accent1"/>
              </a:gs>
            </a:gsLst>
            <a:lin ang="1200000" scaled="0"/>
          </a:gradFill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Rectangle 6"/>
            <p:cNvSpPr/>
            <p:nvPr/>
          </p:nvSpPr>
          <p:spPr>
            <a:xfrm>
              <a:off x="437894" y="2052202"/>
              <a:ext cx="1873250" cy="4005698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tlCol="0" anchor="t" anchorCtr="0"/>
            <a:lstStyle/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风冷与水冷变频器</a:t>
              </a:r>
              <a:br>
                <a:rPr lang="en-US" altLang="zh-CN" sz="1100" b="1" dirty="0">
                  <a:solidFill>
                    <a:srgbClr val="FFFFFF"/>
                  </a:solidFill>
                </a:rPr>
              </a:br>
              <a:r>
                <a:rPr lang="en-US" altLang="zh-CN" sz="900" dirty="0">
                  <a:solidFill>
                    <a:srgbClr val="FFFFFF"/>
                  </a:solidFill>
                </a:rPr>
                <a:t>(0.25 – 5,300 kW)</a:t>
              </a: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分布式变频器</a:t>
              </a:r>
              <a:endParaRPr lang="en-US" altLang="zh-CN" sz="11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主动前端变频器（</a:t>
              </a:r>
              <a:r>
                <a:rPr lang="en-US" altLang="zh-CN" sz="1100" b="1" dirty="0">
                  <a:solidFill>
                    <a:srgbClr val="FFFFFF"/>
                  </a:solidFill>
                </a:rPr>
                <a:t>AFE</a:t>
              </a:r>
              <a:r>
                <a:rPr lang="zh-CN" altLang="en-US" sz="1100" b="1" dirty="0">
                  <a:solidFill>
                    <a:srgbClr val="FFFFFF"/>
                  </a:solidFill>
                </a:rPr>
                <a:t>）</a:t>
              </a:r>
              <a:endParaRPr lang="en-US" altLang="zh-CN" sz="11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工业系统变频器</a:t>
              </a:r>
              <a:endParaRPr lang="en-US" altLang="zh-CN" sz="11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并网变流器</a:t>
              </a:r>
              <a:r>
                <a:rPr lang="en-US" altLang="zh-CN" sz="1100" b="1" dirty="0">
                  <a:solidFill>
                    <a:srgbClr val="FFFFFF"/>
                  </a:solidFill>
                </a:rPr>
                <a:t> </a:t>
              </a: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客户定制化解决方案</a:t>
              </a:r>
              <a:endParaRPr lang="en-US" altLang="zh-CN" sz="11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太阳能逆变器</a:t>
              </a:r>
              <a:endParaRPr lang="en-US" altLang="zh-CN" sz="11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风能变流器</a:t>
              </a:r>
              <a:endParaRPr lang="en-US" altLang="zh-CN" sz="1100" b="1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软件工具</a:t>
              </a:r>
              <a:endParaRPr lang="en-US" altLang="zh-CN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8" name="Isosceles Triangle 7"/>
            <p:cNvSpPr/>
            <p:nvPr/>
          </p:nvSpPr>
          <p:spPr>
            <a:xfrm rot="5400000">
              <a:off x="2248571" y="3487240"/>
              <a:ext cx="294139" cy="168993"/>
            </a:xfrm>
            <a:prstGeom prst="triangle">
              <a:avLst>
                <a:gd name="adj" fmla="val 52747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noProof="0" dirty="0" err="1"/>
            </a:p>
          </p:txBody>
        </p:sp>
      </p:grpSp>
      <p:sp>
        <p:nvSpPr>
          <p:cNvPr id="9" name="Rectangle 8"/>
          <p:cNvSpPr/>
          <p:nvPr/>
        </p:nvSpPr>
        <p:spPr>
          <a:xfrm>
            <a:off x="437894" y="1265938"/>
            <a:ext cx="1873250" cy="710004"/>
          </a:xfrm>
          <a:prstGeom prst="rect">
            <a:avLst/>
          </a:prstGeom>
          <a:gradFill>
            <a:gsLst>
              <a:gs pos="0">
                <a:schemeClr val="accent1"/>
              </a:gs>
              <a:gs pos="67000">
                <a:schemeClr val="accent2"/>
              </a:gs>
              <a:gs pos="100000">
                <a:schemeClr val="accent1"/>
              </a:gs>
            </a:gsLst>
            <a:lin ang="0" scaled="0"/>
          </a:gradFill>
          <a:ln w="9525"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200" b="1" dirty="0"/>
              <a:t>VACON</a:t>
            </a:r>
            <a:r>
              <a:rPr lang="en-GB" sz="2200" b="1" baseline="30000" dirty="0">
                <a:solidFill>
                  <a:schemeClr val="bg1"/>
                </a:solidFill>
              </a:rPr>
              <a:t>®</a:t>
            </a:r>
            <a:r>
              <a:rPr lang="fi-FI" sz="2200" b="1" dirty="0"/>
              <a:t> </a:t>
            </a:r>
            <a:endParaRPr lang="fi-FI" sz="22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3449" y="468832"/>
            <a:ext cx="6940551" cy="6253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9150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419099" y="295275"/>
            <a:ext cx="8308975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zh-CN" altLang="en-US" sz="2000"/>
              <a:t>通过产品的领导性，独立性，灵活性，杰出的连通性和持续不断的创新性，丹佛斯的产品远超客户的期望</a:t>
            </a:r>
            <a:endParaRPr lang="en-US" sz="2000" dirty="0"/>
          </a:p>
        </p:txBody>
      </p:sp>
      <p:grpSp>
        <p:nvGrpSpPr>
          <p:cNvPr id="5" name="Group 4"/>
          <p:cNvGrpSpPr/>
          <p:nvPr/>
        </p:nvGrpSpPr>
        <p:grpSpPr>
          <a:xfrm>
            <a:off x="437894" y="2052202"/>
            <a:ext cx="2042243" cy="4005698"/>
            <a:chOff x="437894" y="2052202"/>
            <a:chExt cx="2042243" cy="4005698"/>
          </a:xfrm>
          <a:gradFill>
            <a:gsLst>
              <a:gs pos="0">
                <a:schemeClr val="accent1"/>
              </a:gs>
              <a:gs pos="67000">
                <a:schemeClr val="accent2"/>
              </a:gs>
              <a:gs pos="100000">
                <a:schemeClr val="accent1"/>
              </a:gs>
            </a:gsLst>
            <a:lin ang="1200000" scaled="0"/>
          </a:gradFill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" name="Rectangle 5"/>
            <p:cNvSpPr/>
            <p:nvPr/>
          </p:nvSpPr>
          <p:spPr>
            <a:xfrm>
              <a:off x="437894" y="2052202"/>
              <a:ext cx="1873250" cy="4005698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tlCol="0" anchor="t" anchorCtr="0"/>
            <a:lstStyle/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通用型变频器</a:t>
              </a:r>
              <a:br>
                <a:rPr lang="en-US" altLang="zh-CN" sz="1100" b="1" dirty="0">
                  <a:solidFill>
                    <a:srgbClr val="FFFFFF"/>
                  </a:solidFill>
                </a:rPr>
              </a:br>
              <a:r>
                <a:rPr lang="en-US" altLang="zh-CN" sz="900" dirty="0">
                  <a:solidFill>
                    <a:srgbClr val="FFFFFF"/>
                  </a:solidFill>
                </a:rPr>
                <a:t>(0.375 – 450 kW)</a:t>
              </a:r>
            </a:p>
            <a:p>
              <a:pPr>
                <a:lnSpc>
                  <a:spcPct val="110000"/>
                </a:lnSpc>
                <a:spcBef>
                  <a:spcPts val="600"/>
                </a:spcBef>
              </a:pPr>
              <a:r>
                <a:rPr lang="en-US" altLang="zh-CN" sz="900" dirty="0">
                  <a:solidFill>
                    <a:srgbClr val="FFFFFF"/>
                  </a:solidFill>
                </a:rPr>
                <a:t>   G100</a:t>
              </a:r>
              <a:r>
                <a:rPr lang="zh-CN" altLang="en-US" sz="900" dirty="0">
                  <a:solidFill>
                    <a:srgbClr val="FFFFFF"/>
                  </a:solidFill>
                </a:rPr>
                <a:t>恒转矩型</a:t>
              </a:r>
              <a:endParaRPr lang="en-US" altLang="zh-CN" sz="900" dirty="0">
                <a:solidFill>
                  <a:srgbClr val="FFFFFF"/>
                </a:solidFill>
              </a:endParaRPr>
            </a:p>
            <a:p>
              <a:pPr>
                <a:lnSpc>
                  <a:spcPct val="110000"/>
                </a:lnSpc>
                <a:spcBef>
                  <a:spcPts val="600"/>
                </a:spcBef>
              </a:pPr>
              <a:r>
                <a:rPr lang="en-US" altLang="zh-CN" sz="900" dirty="0">
                  <a:solidFill>
                    <a:srgbClr val="FFFFFF"/>
                  </a:solidFill>
                </a:rPr>
                <a:t>   G110</a:t>
              </a:r>
              <a:r>
                <a:rPr lang="zh-CN" altLang="en-US" sz="900" dirty="0">
                  <a:solidFill>
                    <a:srgbClr val="FFFFFF"/>
                  </a:solidFill>
                </a:rPr>
                <a:t>低负载型</a:t>
              </a:r>
              <a:endParaRPr lang="en-US" altLang="zh-CN" sz="900" dirty="0">
                <a:solidFill>
                  <a:srgbClr val="FFFFFF"/>
                </a:solidFill>
              </a:endParaRPr>
            </a:p>
            <a:p>
              <a:pPr>
                <a:lnSpc>
                  <a:spcPct val="110000"/>
                </a:lnSpc>
                <a:spcBef>
                  <a:spcPts val="600"/>
                </a:spcBef>
              </a:pPr>
              <a:r>
                <a:rPr lang="en-US" altLang="zh-CN" sz="900" dirty="0">
                  <a:solidFill>
                    <a:srgbClr val="FFFFFF"/>
                  </a:solidFill>
                </a:rPr>
                <a:t>   C100</a:t>
              </a:r>
              <a:r>
                <a:rPr lang="zh-CN" altLang="en-US" sz="900" dirty="0">
                  <a:solidFill>
                    <a:srgbClr val="FFFFFF"/>
                  </a:solidFill>
                </a:rPr>
                <a:t>迷你型</a:t>
              </a:r>
              <a:endParaRPr lang="en-US" altLang="zh-CN" sz="900" dirty="0">
                <a:solidFill>
                  <a:srgbClr val="FFFFFF"/>
                </a:solidFill>
              </a:endParaRPr>
            </a:p>
            <a:p>
              <a:pPr>
                <a:lnSpc>
                  <a:spcPct val="110000"/>
                </a:lnSpc>
                <a:spcBef>
                  <a:spcPts val="600"/>
                </a:spcBef>
              </a:pPr>
              <a:endParaRPr lang="en-US" altLang="zh-CN" sz="900" dirty="0">
                <a:solidFill>
                  <a:srgbClr val="FFFFFF"/>
                </a:solidFill>
              </a:endParaRP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solidFill>
                    <a:srgbClr val="FFFFFF"/>
                  </a:solidFill>
                </a:rPr>
                <a:t>行业专用型变频器</a:t>
              </a:r>
              <a:endParaRPr lang="en-US" altLang="zh-CN" sz="1100" b="1" dirty="0">
                <a:solidFill>
                  <a:srgbClr val="FFFFFF"/>
                </a:solidFill>
              </a:endParaRPr>
            </a:p>
            <a:p>
              <a:pPr>
                <a:lnSpc>
                  <a:spcPct val="110000"/>
                </a:lnSpc>
                <a:spcBef>
                  <a:spcPts val="600"/>
                </a:spcBef>
              </a:pPr>
              <a:r>
                <a:rPr lang="zh-CN" altLang="en-US" sz="900" dirty="0">
                  <a:solidFill>
                    <a:srgbClr val="FFFFFF"/>
                  </a:solidFill>
                </a:rPr>
                <a:t>   空压机双变频器型</a:t>
              </a:r>
              <a:r>
                <a:rPr lang="en-US" altLang="zh-CN" sz="900" dirty="0">
                  <a:solidFill>
                    <a:srgbClr val="FFFFFF"/>
                  </a:solidFill>
                </a:rPr>
                <a:t>SK200</a:t>
              </a:r>
            </a:p>
            <a:p>
              <a:pPr>
                <a:lnSpc>
                  <a:spcPct val="110000"/>
                </a:lnSpc>
                <a:spcBef>
                  <a:spcPts val="600"/>
                </a:spcBef>
              </a:pPr>
              <a:r>
                <a:rPr lang="en-US" altLang="zh-CN" sz="900" dirty="0">
                  <a:solidFill>
                    <a:srgbClr val="FFFFFF"/>
                  </a:solidFill>
                </a:rPr>
                <a:t>   </a:t>
              </a:r>
              <a:r>
                <a:rPr lang="zh-CN" altLang="en-US" sz="900" dirty="0">
                  <a:solidFill>
                    <a:srgbClr val="FFFFFF"/>
                  </a:solidFill>
                </a:rPr>
                <a:t>空压机</a:t>
              </a:r>
              <a:r>
                <a:rPr lang="en-US" altLang="zh-CN" sz="900" dirty="0">
                  <a:solidFill>
                    <a:srgbClr val="FFFFFF"/>
                  </a:solidFill>
                </a:rPr>
                <a:t>SK190/110</a:t>
              </a:r>
            </a:p>
            <a:p>
              <a:pPr>
                <a:lnSpc>
                  <a:spcPct val="110000"/>
                </a:lnSpc>
                <a:spcBef>
                  <a:spcPts val="600"/>
                </a:spcBef>
              </a:pPr>
              <a:r>
                <a:rPr lang="zh-CN" altLang="en-US" sz="900" dirty="0">
                  <a:solidFill>
                    <a:srgbClr val="FFFFFF"/>
                  </a:solidFill>
                </a:rPr>
                <a:t>   印刷</a:t>
              </a:r>
              <a:r>
                <a:rPr lang="en-US" altLang="zh-CN" sz="900" dirty="0">
                  <a:solidFill>
                    <a:srgbClr val="FFFFFF"/>
                  </a:solidFill>
                </a:rPr>
                <a:t>SD100</a:t>
              </a:r>
            </a:p>
            <a:p>
              <a:pPr>
                <a:lnSpc>
                  <a:spcPct val="110000"/>
                </a:lnSpc>
                <a:spcBef>
                  <a:spcPts val="600"/>
                </a:spcBef>
              </a:pPr>
              <a:r>
                <a:rPr lang="zh-CN" altLang="en-US" sz="900" dirty="0">
                  <a:solidFill>
                    <a:srgbClr val="FFFFFF"/>
                  </a:solidFill>
                </a:rPr>
                <a:t>   包装</a:t>
              </a:r>
              <a:r>
                <a:rPr lang="en-US" altLang="zh-CN" sz="900" dirty="0">
                  <a:solidFill>
                    <a:srgbClr val="FFFFFF"/>
                  </a:solidFill>
                </a:rPr>
                <a:t>C150</a:t>
              </a:r>
            </a:p>
            <a:p>
              <a:pPr marL="108000" indent="-108000">
                <a:lnSpc>
                  <a:spcPct val="11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endParaRPr lang="en-US" altLang="zh-CN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Isosceles Triangle 6"/>
            <p:cNvSpPr/>
            <p:nvPr/>
          </p:nvSpPr>
          <p:spPr>
            <a:xfrm rot="5400000">
              <a:off x="2248571" y="3487240"/>
              <a:ext cx="294139" cy="168993"/>
            </a:xfrm>
            <a:prstGeom prst="triangle">
              <a:avLst>
                <a:gd name="adj" fmla="val 52747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i-FI" noProof="0" dirty="0" err="1"/>
            </a:p>
          </p:txBody>
        </p:sp>
      </p:grpSp>
      <p:sp>
        <p:nvSpPr>
          <p:cNvPr id="8" name="Rectangle 7"/>
          <p:cNvSpPr/>
          <p:nvPr/>
        </p:nvSpPr>
        <p:spPr>
          <a:xfrm>
            <a:off x="437894" y="1265938"/>
            <a:ext cx="1873250" cy="710004"/>
          </a:xfrm>
          <a:prstGeom prst="rect">
            <a:avLst/>
          </a:prstGeom>
          <a:gradFill>
            <a:gsLst>
              <a:gs pos="0">
                <a:schemeClr val="accent1"/>
              </a:gs>
              <a:gs pos="67000">
                <a:schemeClr val="accent2"/>
              </a:gs>
              <a:gs pos="100000">
                <a:schemeClr val="accent1"/>
              </a:gs>
            </a:gsLst>
            <a:lin ang="0" scaled="0"/>
          </a:gradFill>
          <a:ln w="9525"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200" b="1" dirty="0"/>
              <a:t>HOLIP</a:t>
            </a:r>
            <a:r>
              <a:rPr lang="en-GB" sz="2200" b="1" baseline="30000" dirty="0">
                <a:solidFill>
                  <a:schemeClr val="bg1"/>
                </a:solidFill>
              </a:rPr>
              <a:t>®</a:t>
            </a:r>
            <a:r>
              <a:rPr lang="fi-FI" sz="2200" b="1" dirty="0"/>
              <a:t> </a:t>
            </a:r>
            <a:endParaRPr lang="fi-FI" sz="22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62447" y="1501917"/>
            <a:ext cx="6469610" cy="44337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536695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DNEW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MVAyGYSoWCYtYLI2Xf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l8pTUQT3mMIzBKzpbI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GlGnWDQ_WMmWR4XZxn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zGXs4wSECET_zgibv5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YoX61qTCuqvR_O6K6qY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41GNn8TNqdTSLZ5eW.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NOi4ImSWmy3yBKAmnw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6F1PviTWGG6OQrcHIX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38LxzUTrW8BS.zwAVxk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8inaOPSmKuXMmfOKNm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vIlDC1SPiFrwg75gp4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HqwKb0TVC9BUcR8vCpG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38LxzUTrW8BS.zwAVxk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6F1PviTWGG6OQrcHIXx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38LxzUTrW8BS.zwAVx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HqwKb0TVC9BUcR8vCp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8inaOPSmKuXMmfOKNm7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Mc1HvzpUOSH3Ew1NsE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Mc1HvzpUOSH3Ew1NsEc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Mc1HvzpUOSH3Ew1NsE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cb7HxfRxSu0g8DU9eW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Mc1HvzpUOSH3Ew1NsE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7wsSNvQ5qntIywB2dy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31C2xRRPCWtJ4NMQkr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iEeOeBRJ6Pu2UYS80H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Fa62kORUKCVmi877ET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0wSJDLSACcc30IUMkq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BFufIUQTOCMEXNzhLaQg"/>
</p:tagLst>
</file>

<file path=ppt/theme/theme1.xml><?xml version="1.0" encoding="utf-8"?>
<a:theme xmlns:a="http://schemas.openxmlformats.org/drawingml/2006/main" name="Blank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2.xml><?xml version="1.0" encoding="utf-8"?>
<a:theme xmlns:a="http://schemas.openxmlformats.org/drawingml/2006/main" name="1_Blank">
  <a:themeElements>
    <a:clrScheme name="Danfoss">
      <a:dk1>
        <a:srgbClr val="000000"/>
      </a:dk1>
      <a:lt1>
        <a:sysClr val="window" lastClr="FFFFFF"/>
      </a:lt1>
      <a:dk2>
        <a:srgbClr val="878786"/>
      </a:dk2>
      <a:lt2>
        <a:srgbClr val="B4BCC3"/>
      </a:lt2>
      <a:accent1>
        <a:srgbClr val="B10A11"/>
      </a:accent1>
      <a:accent2>
        <a:srgbClr val="E60A11"/>
      </a:accent2>
      <a:accent3>
        <a:srgbClr val="869199"/>
      </a:accent3>
      <a:accent4>
        <a:srgbClr val="C44A34"/>
      </a:accent4>
      <a:accent5>
        <a:srgbClr val="9DA7AF"/>
      </a:accent5>
      <a:accent6>
        <a:srgbClr val="575757"/>
      </a:accent6>
      <a:hlink>
        <a:srgbClr val="E2000F"/>
      </a:hlink>
      <a:folHlink>
        <a:srgbClr val="86909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0A11"/>
        </a:solidFill>
        <a:ln w="9525">
          <a:solidFill>
            <a:srgbClr val="E60A11"/>
          </a:solidFill>
        </a:ln>
      </a:spPr>
      <a:bodyPr rtlCol="0" anchor="ctr"/>
      <a:lstStyle>
        <a:defPPr algn="ctr">
          <a:defRPr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Danfoss Red">
      <a:srgbClr val="E2000F"/>
    </a:custClr>
    <a:custClr name="Danfoss Deep Red">
      <a:srgbClr val="B6000F"/>
    </a:custClr>
    <a:custClr name="White">
      <a:srgbClr val="FFFFFF"/>
    </a:custClr>
    <a:custClr name="Black">
      <a:srgbClr val="000000"/>
    </a:custClr>
    <a:custClr name="Gray">
      <a:srgbClr val="869098"/>
    </a:custClr>
    <a:custClr name="80% Danfoss Deep Red">
      <a:srgbClr val="C44A34"/>
    </a:custClr>
    <a:custClr name="60% Danfoss Deep Red">
      <a:srgbClr val="D3785E"/>
    </a:custClr>
    <a:custClr name="40% Danfoss Deep Red">
      <a:srgbClr val="E2A690"/>
    </a:custClr>
    <a:custClr name="20% Danfoss Deep Red">
      <a:srgbClr val="F1D3C7"/>
    </a:custClr>
    <a:custClr name="10% Danfoss Deep Red">
      <a:srgbClr val="F8E9E3"/>
    </a:custClr>
    <a:custClr name="80% Black">
      <a:srgbClr val="575756"/>
    </a:custClr>
    <a:custClr name="60% Black">
      <a:srgbClr val="878786"/>
    </a:custClr>
    <a:custClr name="40% Black (Text)">
      <a:srgbClr val="B0B0B1"/>
    </a:custClr>
    <a:custClr name="20% Black">
      <a:srgbClr val="D8D8D9"/>
    </a:custClr>
    <a:custClr name="10% Black">
      <a:srgbClr val="EBEBEB"/>
    </a:custClr>
    <a:custClr name="80% Gray">
      <a:srgbClr val="869098"/>
    </a:custClr>
    <a:custClr name="60% Gray">
      <a:srgbClr val="B4BCC3"/>
    </a:custClr>
    <a:custClr name="40% Gray">
      <a:srgbClr val="CCD3D8"/>
    </a:custClr>
    <a:custClr name="20% Gray">
      <a:srgbClr val="E5E8EB"/>
    </a:custClr>
    <a:custClr name="10% Gray">
      <a:srgbClr val="F1F3F5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988</TotalTime>
  <Words>1810</Words>
  <Application>Microsoft Office PowerPoint</Application>
  <PresentationFormat>全屏显示(4:3)</PresentationFormat>
  <Paragraphs>449</Paragraphs>
  <Slides>26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41" baseType="lpstr">
      <vt:lpstr>Myriad Pro Light</vt:lpstr>
      <vt:lpstr>Simhei</vt:lpstr>
      <vt:lpstr>ヒラギノ角ゴ Pro W3</vt:lpstr>
      <vt:lpstr>黑体</vt:lpstr>
      <vt:lpstr>黑体</vt:lpstr>
      <vt:lpstr>宋体</vt:lpstr>
      <vt:lpstr>微软雅黑</vt:lpstr>
      <vt:lpstr>幼圆</vt:lpstr>
      <vt:lpstr>Arial</vt:lpstr>
      <vt:lpstr>Calibri</vt:lpstr>
      <vt:lpstr>Verdana</vt:lpstr>
      <vt:lpstr>Wingdings</vt:lpstr>
      <vt:lpstr>Blank</vt:lpstr>
      <vt:lpstr>1_Blank</vt:lpstr>
      <vt:lpstr>think-cell Slide</vt:lpstr>
      <vt:lpstr>A better tomorrow is driven by drives </vt:lpstr>
      <vt:lpstr>丹佛斯集团介绍</vt:lpstr>
      <vt:lpstr>丹佛斯 业务范围 </vt:lpstr>
      <vt:lpstr>丹佛斯传动业务范围</vt:lpstr>
      <vt:lpstr>丹佛斯传动业务数据</vt:lpstr>
      <vt:lpstr>低压变频器 市场竞争分布</vt:lpstr>
      <vt:lpstr>通过产品的领导性，独立性，灵活性，杰出的连通性和持续不断的创新性，丹佛斯的产品远超客户的期望</vt:lpstr>
      <vt:lpstr>通过产品的领导性，独立性，灵活性，杰出的连通性和持续不断的创新性，丹佛斯的产品远超客户的期望</vt:lpstr>
      <vt:lpstr>PowerPoint 演示文稿</vt:lpstr>
      <vt:lpstr>丹佛斯专注行业应用</vt:lpstr>
      <vt:lpstr>PowerPoint 演示文稿</vt:lpstr>
      <vt:lpstr>丹佛斯中国传动业务</vt:lpstr>
      <vt:lpstr>扎根中国，24/7全球服务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Danfoss A/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les preparation for product portfolio workshop in Graasten</dc:title>
  <dc:creator>Henrik Pedersen Orvin</dc:creator>
  <cp:lastModifiedBy>杨超</cp:lastModifiedBy>
  <cp:revision>287</cp:revision>
  <dcterms:created xsi:type="dcterms:W3CDTF">2015-08-13T05:06:11Z</dcterms:created>
  <dcterms:modified xsi:type="dcterms:W3CDTF">2018-06-01T09:13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com</vt:lpwstr>
  </property>
</Properties>
</file>